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78" r:id="rId1"/>
  </p:sldMasterIdLst>
  <p:notesMasterIdLst>
    <p:notesMasterId r:id="rId33"/>
  </p:notesMasterIdLst>
  <p:handoutMasterIdLst>
    <p:handoutMasterId r:id="rId34"/>
  </p:handoutMasterIdLst>
  <p:sldIdLst>
    <p:sldId id="1369" r:id="rId2"/>
    <p:sldId id="1371" r:id="rId3"/>
    <p:sldId id="1380" r:id="rId4"/>
    <p:sldId id="1401" r:id="rId5"/>
    <p:sldId id="1375" r:id="rId6"/>
    <p:sldId id="1370" r:id="rId7"/>
    <p:sldId id="1373" r:id="rId8"/>
    <p:sldId id="1379" r:id="rId9"/>
    <p:sldId id="1374" r:id="rId10"/>
    <p:sldId id="1376" r:id="rId11"/>
    <p:sldId id="1377" r:id="rId12"/>
    <p:sldId id="1378" r:id="rId13"/>
    <p:sldId id="1382" r:id="rId14"/>
    <p:sldId id="1383" r:id="rId15"/>
    <p:sldId id="1390" r:id="rId16"/>
    <p:sldId id="1403" r:id="rId17"/>
    <p:sldId id="1385" r:id="rId18"/>
    <p:sldId id="1399" r:id="rId19"/>
    <p:sldId id="1392" r:id="rId20"/>
    <p:sldId id="1400" r:id="rId21"/>
    <p:sldId id="1384" r:id="rId22"/>
    <p:sldId id="1398" r:id="rId23"/>
    <p:sldId id="1386" r:id="rId24"/>
    <p:sldId id="1391" r:id="rId25"/>
    <p:sldId id="1387" r:id="rId26"/>
    <p:sldId id="1389" r:id="rId27"/>
    <p:sldId id="1388" r:id="rId28"/>
    <p:sldId id="1402" r:id="rId29"/>
    <p:sldId id="1396" r:id="rId30"/>
    <p:sldId id="1372" r:id="rId31"/>
    <p:sldId id="1381" r:id="rId32"/>
  </p:sldIdLst>
  <p:sldSz cx="11879263" cy="6335713"/>
  <p:notesSz cx="6858000" cy="9144000"/>
  <p:custDataLst>
    <p:tags r:id="rId35"/>
  </p:custDataLst>
  <p:defaultTextStyle>
    <a:defPPr>
      <a:defRPr lang="de-DE"/>
    </a:defPPr>
    <a:lvl1pPr marL="0" algn="l" defTabSz="874258" rtl="0" eaLnBrk="1" latinLnBrk="0" hangingPunct="1">
      <a:defRPr sz="1721" kern="1200">
        <a:solidFill>
          <a:schemeClr val="tx1"/>
        </a:solidFill>
        <a:latin typeface="+mn-lt"/>
        <a:ea typeface="+mn-ea"/>
        <a:cs typeface="+mn-cs"/>
      </a:defRPr>
    </a:lvl1pPr>
    <a:lvl2pPr marL="437129" algn="l" defTabSz="874258" rtl="0" eaLnBrk="1" latinLnBrk="0" hangingPunct="1">
      <a:defRPr sz="1721" kern="1200">
        <a:solidFill>
          <a:schemeClr val="tx1"/>
        </a:solidFill>
        <a:latin typeface="+mn-lt"/>
        <a:ea typeface="+mn-ea"/>
        <a:cs typeface="+mn-cs"/>
      </a:defRPr>
    </a:lvl2pPr>
    <a:lvl3pPr marL="874258" algn="l" defTabSz="874258" rtl="0" eaLnBrk="1" latinLnBrk="0" hangingPunct="1">
      <a:defRPr sz="1721" kern="1200">
        <a:solidFill>
          <a:schemeClr val="tx1"/>
        </a:solidFill>
        <a:latin typeface="+mn-lt"/>
        <a:ea typeface="+mn-ea"/>
        <a:cs typeface="+mn-cs"/>
      </a:defRPr>
    </a:lvl3pPr>
    <a:lvl4pPr marL="1311387" algn="l" defTabSz="874258" rtl="0" eaLnBrk="1" latinLnBrk="0" hangingPunct="1">
      <a:defRPr sz="1721" kern="1200">
        <a:solidFill>
          <a:schemeClr val="tx1"/>
        </a:solidFill>
        <a:latin typeface="+mn-lt"/>
        <a:ea typeface="+mn-ea"/>
        <a:cs typeface="+mn-cs"/>
      </a:defRPr>
    </a:lvl4pPr>
    <a:lvl5pPr marL="1748516" algn="l" defTabSz="874258" rtl="0" eaLnBrk="1" latinLnBrk="0" hangingPunct="1">
      <a:defRPr sz="1721" kern="1200">
        <a:solidFill>
          <a:schemeClr val="tx1"/>
        </a:solidFill>
        <a:latin typeface="+mn-lt"/>
        <a:ea typeface="+mn-ea"/>
        <a:cs typeface="+mn-cs"/>
      </a:defRPr>
    </a:lvl5pPr>
    <a:lvl6pPr marL="2185645" algn="l" defTabSz="874258" rtl="0" eaLnBrk="1" latinLnBrk="0" hangingPunct="1">
      <a:defRPr sz="1721" kern="1200">
        <a:solidFill>
          <a:schemeClr val="tx1"/>
        </a:solidFill>
        <a:latin typeface="+mn-lt"/>
        <a:ea typeface="+mn-ea"/>
        <a:cs typeface="+mn-cs"/>
      </a:defRPr>
    </a:lvl6pPr>
    <a:lvl7pPr marL="2622774" algn="l" defTabSz="874258" rtl="0" eaLnBrk="1" latinLnBrk="0" hangingPunct="1">
      <a:defRPr sz="1721" kern="1200">
        <a:solidFill>
          <a:schemeClr val="tx1"/>
        </a:solidFill>
        <a:latin typeface="+mn-lt"/>
        <a:ea typeface="+mn-ea"/>
        <a:cs typeface="+mn-cs"/>
      </a:defRPr>
    </a:lvl7pPr>
    <a:lvl8pPr marL="3059902" algn="l" defTabSz="874258" rtl="0" eaLnBrk="1" latinLnBrk="0" hangingPunct="1">
      <a:defRPr sz="1721" kern="1200">
        <a:solidFill>
          <a:schemeClr val="tx1"/>
        </a:solidFill>
        <a:latin typeface="+mn-lt"/>
        <a:ea typeface="+mn-ea"/>
        <a:cs typeface="+mn-cs"/>
      </a:defRPr>
    </a:lvl8pPr>
    <a:lvl9pPr marL="3497031" algn="l" defTabSz="874258" rtl="0" eaLnBrk="1" latinLnBrk="0" hangingPunct="1">
      <a:defRPr sz="172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olien" id="{1323D904-C592-48DA-8733-ECC0B0D52506}">
          <p14:sldIdLst>
            <p14:sldId id="1369"/>
            <p14:sldId id="1371"/>
            <p14:sldId id="1380"/>
            <p14:sldId id="1401"/>
            <p14:sldId id="1375"/>
            <p14:sldId id="1370"/>
            <p14:sldId id="1373"/>
            <p14:sldId id="1379"/>
            <p14:sldId id="1374"/>
            <p14:sldId id="1376"/>
            <p14:sldId id="1377"/>
            <p14:sldId id="1378"/>
            <p14:sldId id="1382"/>
            <p14:sldId id="1383"/>
            <p14:sldId id="1390"/>
            <p14:sldId id="1403"/>
            <p14:sldId id="1385"/>
            <p14:sldId id="1399"/>
            <p14:sldId id="1392"/>
            <p14:sldId id="1400"/>
            <p14:sldId id="1384"/>
            <p14:sldId id="1398"/>
            <p14:sldId id="1386"/>
            <p14:sldId id="1391"/>
            <p14:sldId id="1387"/>
            <p14:sldId id="1389"/>
            <p14:sldId id="1388"/>
            <p14:sldId id="1402"/>
            <p14:sldId id="1396"/>
            <p14:sldId id="1372"/>
            <p14:sldId id="138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20" autoAdjust="0"/>
    <p:restoredTop sz="96283" autoAdjust="0"/>
  </p:normalViewPr>
  <p:slideViewPr>
    <p:cSldViewPr snapToObjects="1">
      <p:cViewPr varScale="1">
        <p:scale>
          <a:sx n="169" d="100"/>
          <a:sy n="169" d="100"/>
        </p:scale>
        <p:origin x="224" y="32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79" d="100"/>
          <a:sy n="79" d="100"/>
        </p:scale>
        <p:origin x="3942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8558D30-730E-4A53-BB1D-9C4ED56C59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65204" y="469066"/>
            <a:ext cx="1152128" cy="214482"/>
          </a:xfrm>
          <a:prstGeom prst="rect">
            <a:avLst/>
          </a:prstGeom>
        </p:spPr>
      </p:pic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8393822-FD11-4B6A-99C1-B7FAFBDF6B1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 rot="16200000">
            <a:off x="6417607" y="7739907"/>
            <a:ext cx="360040" cy="14430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9" name="Fußzeilenplatzhalter 166">
            <a:extLst>
              <a:ext uri="{FF2B5EF4-FFF2-40B4-BE49-F238E27FC236}">
                <a16:creationId xmlns:a16="http://schemas.microsoft.com/office/drawing/2014/main" id="{84CEAC3E-D082-4EFA-AA59-F7885B226B4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 rot="16200000">
            <a:off x="4617344" y="4643936"/>
            <a:ext cx="396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all" baseline="0">
                <a:solidFill>
                  <a:schemeClr val="tx1"/>
                </a:solidFill>
              </a:defRPr>
            </a:lvl1pPr>
          </a:lstStyle>
          <a:p>
            <a:r>
              <a:rPr lang="de-DE" cap="none" dirty="0"/>
              <a:t>Fusszeile</a:t>
            </a:r>
          </a:p>
        </p:txBody>
      </p:sp>
      <p:sp>
        <p:nvSpPr>
          <p:cNvPr id="10" name="Datumsplatzhalter 167">
            <a:extLst>
              <a:ext uri="{FF2B5EF4-FFF2-40B4-BE49-F238E27FC236}">
                <a16:creationId xmlns:a16="http://schemas.microsoft.com/office/drawing/2014/main" id="{9EBB7629-7223-4B31-9381-382978C8129A}"/>
              </a:ext>
            </a:extLst>
          </p:cNvPr>
          <p:cNvSpPr>
            <a:spLocks noGrp="1"/>
          </p:cNvSpPr>
          <p:nvPr>
            <p:ph type="dt" sz="half" idx="1"/>
          </p:nvPr>
        </p:nvSpPr>
        <p:spPr>
          <a:xfrm rot="16200000">
            <a:off x="6237587" y="7163996"/>
            <a:ext cx="72008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D608700A-2A06-4DE6-993D-330A4DDF3764}" type="datetime1">
              <a:rPr lang="de-DE"/>
              <a:t>07.04.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01218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458395" y="1143000"/>
            <a:ext cx="3863030" cy="206084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40668" y="3419872"/>
            <a:ext cx="5880757" cy="45722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44F94F6-890F-46F1-AAFE-2842A5D8F5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65204" y="469066"/>
            <a:ext cx="1152128" cy="214482"/>
          </a:xfrm>
          <a:prstGeom prst="rect">
            <a:avLst/>
          </a:prstGeom>
        </p:spPr>
      </p:pic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5846C62A-E420-441D-8C01-5891ACE86F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 rot="16200000">
            <a:off x="6417607" y="7739907"/>
            <a:ext cx="360040" cy="14430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0" name="Fußzeilenplatzhalter 166">
            <a:extLst>
              <a:ext uri="{FF2B5EF4-FFF2-40B4-BE49-F238E27FC236}">
                <a16:creationId xmlns:a16="http://schemas.microsoft.com/office/drawing/2014/main" id="{7158C242-EB94-4C8A-91A1-080F2C9ABFF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 rot="16200000">
            <a:off x="4617344" y="4643936"/>
            <a:ext cx="396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none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usszeile</a:t>
            </a:r>
          </a:p>
        </p:txBody>
      </p:sp>
      <p:sp>
        <p:nvSpPr>
          <p:cNvPr id="11" name="Datumsplatzhalter 167">
            <a:extLst>
              <a:ext uri="{FF2B5EF4-FFF2-40B4-BE49-F238E27FC236}">
                <a16:creationId xmlns:a16="http://schemas.microsoft.com/office/drawing/2014/main" id="{6655FDDE-38D1-4F2D-AB6A-785FDA57241E}"/>
              </a:ext>
            </a:extLst>
          </p:cNvPr>
          <p:cNvSpPr>
            <a:spLocks noGrp="1"/>
          </p:cNvSpPr>
          <p:nvPr>
            <p:ph type="dt" sz="half" idx="1"/>
          </p:nvPr>
        </p:nvSpPr>
        <p:spPr>
          <a:xfrm rot="16200000">
            <a:off x="6237587" y="7163996"/>
            <a:ext cx="72008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D608700A-2A06-4DE6-993D-330A4DDF3764}" type="datetime1">
              <a:rPr lang="de-DE"/>
              <a:t>07.04.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175420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74258" rtl="0" eaLnBrk="1" latinLnBrk="0" hangingPunct="1">
      <a:lnSpc>
        <a:spcPct val="100000"/>
      </a:lnSpc>
      <a:spcBef>
        <a:spcPts val="600"/>
      </a:spcBef>
      <a:defRPr sz="1600" b="0" kern="1200">
        <a:solidFill>
          <a:schemeClr val="tx1"/>
        </a:solidFill>
        <a:latin typeface="+mn-lt"/>
        <a:ea typeface="+mn-ea"/>
        <a:cs typeface="+mn-cs"/>
      </a:defRPr>
    </a:lvl1pPr>
    <a:lvl2pPr marL="0" algn="l" defTabSz="874258" rtl="0" eaLnBrk="1" latinLnBrk="0" hangingPunct="1">
      <a:lnSpc>
        <a:spcPct val="100000"/>
      </a:lnSpc>
      <a:spcBef>
        <a:spcPts val="600"/>
      </a:spcBef>
      <a:defRPr sz="1600" b="1" kern="1200">
        <a:solidFill>
          <a:schemeClr val="tx1"/>
        </a:solidFill>
        <a:latin typeface="+mn-lt"/>
        <a:ea typeface="+mn-ea"/>
        <a:cs typeface="+mn-cs"/>
      </a:defRPr>
    </a:lvl2pPr>
    <a:lvl3pPr marL="216000" indent="-216000" algn="l" defTabSz="874258" rtl="0" eaLnBrk="1" latinLnBrk="0" hangingPunct="1">
      <a:lnSpc>
        <a:spcPct val="100000"/>
      </a:lnSpc>
      <a:spcBef>
        <a:spcPts val="600"/>
      </a:spcBef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432000" indent="-216000" algn="l" defTabSz="874258" rtl="0" eaLnBrk="1" latinLnBrk="0" hangingPunct="1">
      <a:lnSpc>
        <a:spcPct val="100000"/>
      </a:lnSpc>
      <a:spcBef>
        <a:spcPts val="600"/>
      </a:spcBef>
      <a:buClrTx/>
      <a:buFont typeface="Arial" panose="020B0604020202020204" pitchFamily="34" charset="0"/>
      <a:buChar char="–"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648000" indent="-216000" algn="l" defTabSz="874258" rtl="0" eaLnBrk="1" latinLnBrk="0" hangingPunct="1">
      <a:lnSpc>
        <a:spcPct val="100000"/>
      </a:lnSpc>
      <a:spcBef>
        <a:spcPts val="600"/>
      </a:spcBef>
      <a:buClrTx/>
      <a:buFont typeface="Arial" panose="020B0604020202020204" pitchFamily="34" charset="0"/>
      <a:buChar char="–"/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648000" indent="-216000" algn="l" defTabSz="874258" rtl="0" eaLnBrk="1" latinLnBrk="0" hangingPunct="1">
      <a:lnSpc>
        <a:spcPct val="100000"/>
      </a:lnSpc>
      <a:spcBef>
        <a:spcPts val="600"/>
      </a:spcBef>
      <a:buClrTx/>
      <a:buFont typeface="Arial" panose="020B0604020202020204" pitchFamily="34" charset="0"/>
      <a:buChar char="–"/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648000" indent="-216000" algn="l" defTabSz="874258" rtl="0" eaLnBrk="1" latinLnBrk="0" hangingPunct="1">
      <a:lnSpc>
        <a:spcPct val="100000"/>
      </a:lnSpc>
      <a:spcBef>
        <a:spcPts val="600"/>
      </a:spcBef>
      <a:buClrTx/>
      <a:buFont typeface="Arial" panose="020B0604020202020204" pitchFamily="34" charset="0"/>
      <a:buChar char="–"/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648000" indent="-216000" algn="l" defTabSz="874258" rtl="0" eaLnBrk="1" latinLnBrk="0" hangingPunct="1">
      <a:lnSpc>
        <a:spcPct val="100000"/>
      </a:lnSpc>
      <a:spcBef>
        <a:spcPts val="600"/>
      </a:spcBef>
      <a:buClrTx/>
      <a:buFont typeface="Arial" panose="020B0604020202020204" pitchFamily="34" charset="0"/>
      <a:buChar char="–"/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648000" indent="-216000" algn="l" defTabSz="874258" rtl="0" eaLnBrk="1" latinLnBrk="0" hangingPunct="1">
      <a:lnSpc>
        <a:spcPct val="100000"/>
      </a:lnSpc>
      <a:spcBef>
        <a:spcPts val="600"/>
      </a:spcBef>
      <a:buClrTx/>
      <a:buFont typeface="Arial" panose="020B0604020202020204" pitchFamily="34" charset="0"/>
      <a:buChar char="–"/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459038" y="1143000"/>
            <a:ext cx="3862387" cy="2060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11563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59038" y="1143000"/>
            <a:ext cx="3862387" cy="2060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04722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89026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459038" y="1143000"/>
            <a:ext cx="3862387" cy="2060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96745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59038" y="1143000"/>
            <a:ext cx="3862387" cy="2060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40770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59038" y="1143000"/>
            <a:ext cx="3862387" cy="2060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36065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59038" y="1143000"/>
            <a:ext cx="3862387" cy="2060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10605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DD3D16-48CF-52AF-C9EB-C8C372F00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C5CBF2-DEDE-C0BC-5DCE-5B197D7BE1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459038" y="1143000"/>
            <a:ext cx="3862387" cy="20605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833E2B1-E4DD-719D-DEB0-14F030BAD1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6EE863-4A35-8BDA-0713-67399A0CED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38717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2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microsoft.com/office/2007/relationships/hdphoto" Target="../media/hdphoto1.wdp"/><Relationship Id="rId4" Type="http://schemas.openxmlformats.org/officeDocument/2006/relationships/image" Target="../media/image9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1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microsoft.com/office/2007/relationships/hdphoto" Target="../media/hdphoto3.wdp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9.png"/><Relationship Id="rId17" Type="http://schemas.openxmlformats.org/officeDocument/2006/relationships/image" Target="../media/image3.svg"/><Relationship Id="rId2" Type="http://schemas.openxmlformats.org/officeDocument/2006/relationships/tags" Target="../tags/tag8.xml"/><Relationship Id="rId16" Type="http://schemas.openxmlformats.org/officeDocument/2006/relationships/image" Target="../media/image1.png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15" Type="http://schemas.microsoft.com/office/2007/relationships/hdphoto" Target="../media/hdphoto4.wdp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image" Target="../media/image10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image" Target="../media/image11.png"/><Relationship Id="rId4" Type="http://schemas.openxmlformats.org/officeDocument/2006/relationships/tags" Target="../tags/tag20.xml"/><Relationship Id="rId9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ild">
            <a:extLst>
              <a:ext uri="{FF2B5EF4-FFF2-40B4-BE49-F238E27FC236}">
                <a16:creationId xmlns:a16="http://schemas.microsoft.com/office/drawing/2014/main" id="{5AEB332C-1874-4881-8014-90EEA16AFCF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1879263" cy="6335713"/>
          </a:xfrm>
          <a:custGeom>
            <a:avLst/>
            <a:gdLst>
              <a:gd name="connsiteX0" fmla="*/ 564555 w 11879263"/>
              <a:gd name="connsiteY0" fmla="*/ 5896873 h 6335713"/>
              <a:gd name="connsiteX1" fmla="*/ 560130 w 11879263"/>
              <a:gd name="connsiteY1" fmla="*/ 5901274 h 6335713"/>
              <a:gd name="connsiteX2" fmla="*/ 560002 w 11879263"/>
              <a:gd name="connsiteY2" fmla="*/ 5933676 h 6335713"/>
              <a:gd name="connsiteX3" fmla="*/ 564631 w 11879263"/>
              <a:gd name="connsiteY3" fmla="*/ 5938281 h 6335713"/>
              <a:gd name="connsiteX4" fmla="*/ 610793 w 11879263"/>
              <a:gd name="connsiteY4" fmla="*/ 5938281 h 6335713"/>
              <a:gd name="connsiteX5" fmla="*/ 615397 w 11879263"/>
              <a:gd name="connsiteY5" fmla="*/ 5933676 h 6335713"/>
              <a:gd name="connsiteX6" fmla="*/ 615524 w 11879263"/>
              <a:gd name="connsiteY6" fmla="*/ 5901477 h 6335713"/>
              <a:gd name="connsiteX7" fmla="*/ 610920 w 11879263"/>
              <a:gd name="connsiteY7" fmla="*/ 5896873 h 6335713"/>
              <a:gd name="connsiteX8" fmla="*/ 1388971 w 11879263"/>
              <a:gd name="connsiteY8" fmla="*/ 5896720 h 6335713"/>
              <a:gd name="connsiteX9" fmla="*/ 1384545 w 11879263"/>
              <a:gd name="connsiteY9" fmla="*/ 5901146 h 6335713"/>
              <a:gd name="connsiteX10" fmla="*/ 1384545 w 11879263"/>
              <a:gd name="connsiteY10" fmla="*/ 5933650 h 6335713"/>
              <a:gd name="connsiteX11" fmla="*/ 1389149 w 11879263"/>
              <a:gd name="connsiteY11" fmla="*/ 5938255 h 6335713"/>
              <a:gd name="connsiteX12" fmla="*/ 1435336 w 11879263"/>
              <a:gd name="connsiteY12" fmla="*/ 5938255 h 6335713"/>
              <a:gd name="connsiteX13" fmla="*/ 1439941 w 11879263"/>
              <a:gd name="connsiteY13" fmla="*/ 5933650 h 6335713"/>
              <a:gd name="connsiteX14" fmla="*/ 1439941 w 11879263"/>
              <a:gd name="connsiteY14" fmla="*/ 5901324 h 6335713"/>
              <a:gd name="connsiteX15" fmla="*/ 1435336 w 11879263"/>
              <a:gd name="connsiteY15" fmla="*/ 5896720 h 6335713"/>
              <a:gd name="connsiteX16" fmla="*/ 1180846 w 11879263"/>
              <a:gd name="connsiteY16" fmla="*/ 5830923 h 6335713"/>
              <a:gd name="connsiteX17" fmla="*/ 1218260 w 11879263"/>
              <a:gd name="connsiteY17" fmla="*/ 5835577 h 6335713"/>
              <a:gd name="connsiteX18" fmla="*/ 1222939 w 11879263"/>
              <a:gd name="connsiteY18" fmla="*/ 5840257 h 6335713"/>
              <a:gd name="connsiteX19" fmla="*/ 1222939 w 11879263"/>
              <a:gd name="connsiteY19" fmla="*/ 5854271 h 6335713"/>
              <a:gd name="connsiteX20" fmla="*/ 1162127 w 11879263"/>
              <a:gd name="connsiteY20" fmla="*/ 5900917 h 6335713"/>
              <a:gd name="connsiteX21" fmla="*/ 1120034 w 11879263"/>
              <a:gd name="connsiteY21" fmla="*/ 5868260 h 6335713"/>
              <a:gd name="connsiteX22" fmla="*/ 1180846 w 11879263"/>
              <a:gd name="connsiteY22" fmla="*/ 5830923 h 6335713"/>
              <a:gd name="connsiteX23" fmla="*/ 1583948 w 11879263"/>
              <a:gd name="connsiteY23" fmla="*/ 5744702 h 6335713"/>
              <a:gd name="connsiteX24" fmla="*/ 1639267 w 11879263"/>
              <a:gd name="connsiteY24" fmla="*/ 5800072 h 6335713"/>
              <a:gd name="connsiteX25" fmla="*/ 1634662 w 11879263"/>
              <a:gd name="connsiteY25" fmla="*/ 5804675 h 6335713"/>
              <a:gd name="connsiteX26" fmla="*/ 1533232 w 11879263"/>
              <a:gd name="connsiteY26" fmla="*/ 5804675 h 6335713"/>
              <a:gd name="connsiteX27" fmla="*/ 1528629 w 11879263"/>
              <a:gd name="connsiteY27" fmla="*/ 5800072 h 6335713"/>
              <a:gd name="connsiteX28" fmla="*/ 1583948 w 11879263"/>
              <a:gd name="connsiteY28" fmla="*/ 5744702 h 6335713"/>
              <a:gd name="connsiteX29" fmla="*/ 757294 w 11879263"/>
              <a:gd name="connsiteY29" fmla="*/ 5744702 h 6335713"/>
              <a:gd name="connsiteX30" fmla="*/ 812613 w 11879263"/>
              <a:gd name="connsiteY30" fmla="*/ 5800072 h 6335713"/>
              <a:gd name="connsiteX31" fmla="*/ 808008 w 11879263"/>
              <a:gd name="connsiteY31" fmla="*/ 5804675 h 6335713"/>
              <a:gd name="connsiteX32" fmla="*/ 706578 w 11879263"/>
              <a:gd name="connsiteY32" fmla="*/ 5804675 h 6335713"/>
              <a:gd name="connsiteX33" fmla="*/ 701975 w 11879263"/>
              <a:gd name="connsiteY33" fmla="*/ 5800072 h 6335713"/>
              <a:gd name="connsiteX34" fmla="*/ 757294 w 11879263"/>
              <a:gd name="connsiteY34" fmla="*/ 5744702 h 6335713"/>
              <a:gd name="connsiteX35" fmla="*/ 403712 w 11879263"/>
              <a:gd name="connsiteY35" fmla="*/ 5742718 h 6335713"/>
              <a:gd name="connsiteX36" fmla="*/ 399108 w 11879263"/>
              <a:gd name="connsiteY36" fmla="*/ 5747347 h 6335713"/>
              <a:gd name="connsiteX37" fmla="*/ 399108 w 11879263"/>
              <a:gd name="connsiteY37" fmla="*/ 5933651 h 6335713"/>
              <a:gd name="connsiteX38" fmla="*/ 403712 w 11879263"/>
              <a:gd name="connsiteY38" fmla="*/ 5938256 h 6335713"/>
              <a:gd name="connsiteX39" fmla="*/ 440666 w 11879263"/>
              <a:gd name="connsiteY39" fmla="*/ 5938256 h 6335713"/>
              <a:gd name="connsiteX40" fmla="*/ 445271 w 11879263"/>
              <a:gd name="connsiteY40" fmla="*/ 5933651 h 6335713"/>
              <a:gd name="connsiteX41" fmla="*/ 445271 w 11879263"/>
              <a:gd name="connsiteY41" fmla="*/ 5747347 h 6335713"/>
              <a:gd name="connsiteX42" fmla="*/ 440666 w 11879263"/>
              <a:gd name="connsiteY42" fmla="*/ 5742718 h 6335713"/>
              <a:gd name="connsiteX43" fmla="*/ 1085492 w 11879263"/>
              <a:gd name="connsiteY43" fmla="*/ 5742616 h 6335713"/>
              <a:gd name="connsiteX44" fmla="*/ 1080813 w 11879263"/>
              <a:gd name="connsiteY44" fmla="*/ 5747270 h 6335713"/>
              <a:gd name="connsiteX45" fmla="*/ 1080813 w 11879263"/>
              <a:gd name="connsiteY45" fmla="*/ 5782726 h 6335713"/>
              <a:gd name="connsiteX46" fmla="*/ 1085492 w 11879263"/>
              <a:gd name="connsiteY46" fmla="*/ 5787380 h 6335713"/>
              <a:gd name="connsiteX47" fmla="*/ 1122906 w 11879263"/>
              <a:gd name="connsiteY47" fmla="*/ 5787380 h 6335713"/>
              <a:gd name="connsiteX48" fmla="*/ 1127587 w 11879263"/>
              <a:gd name="connsiteY48" fmla="*/ 5782726 h 6335713"/>
              <a:gd name="connsiteX49" fmla="*/ 1127587 w 11879263"/>
              <a:gd name="connsiteY49" fmla="*/ 5747270 h 6335713"/>
              <a:gd name="connsiteX50" fmla="*/ 1122906 w 11879263"/>
              <a:gd name="connsiteY50" fmla="*/ 5742616 h 6335713"/>
              <a:gd name="connsiteX51" fmla="*/ 916865 w 11879263"/>
              <a:gd name="connsiteY51" fmla="*/ 5742616 h 6335713"/>
              <a:gd name="connsiteX52" fmla="*/ 912186 w 11879263"/>
              <a:gd name="connsiteY52" fmla="*/ 5747270 h 6335713"/>
              <a:gd name="connsiteX53" fmla="*/ 912186 w 11879263"/>
              <a:gd name="connsiteY53" fmla="*/ 5933600 h 6335713"/>
              <a:gd name="connsiteX54" fmla="*/ 916865 w 11879263"/>
              <a:gd name="connsiteY54" fmla="*/ 5938256 h 6335713"/>
              <a:gd name="connsiteX55" fmla="*/ 954279 w 11879263"/>
              <a:gd name="connsiteY55" fmla="*/ 5938256 h 6335713"/>
              <a:gd name="connsiteX56" fmla="*/ 958958 w 11879263"/>
              <a:gd name="connsiteY56" fmla="*/ 5933600 h 6335713"/>
              <a:gd name="connsiteX57" fmla="*/ 958958 w 11879263"/>
              <a:gd name="connsiteY57" fmla="*/ 5747270 h 6335713"/>
              <a:gd name="connsiteX58" fmla="*/ 953744 w 11879263"/>
              <a:gd name="connsiteY58" fmla="*/ 5742616 h 6335713"/>
              <a:gd name="connsiteX59" fmla="*/ 1583948 w 11879263"/>
              <a:gd name="connsiteY59" fmla="*/ 5703244 h 6335713"/>
              <a:gd name="connsiteX60" fmla="*/ 1477964 w 11879263"/>
              <a:gd name="connsiteY60" fmla="*/ 5823089 h 6335713"/>
              <a:gd name="connsiteX61" fmla="*/ 1588551 w 11879263"/>
              <a:gd name="connsiteY61" fmla="*/ 5942934 h 6335713"/>
              <a:gd name="connsiteX62" fmla="*/ 1680749 w 11879263"/>
              <a:gd name="connsiteY62" fmla="*/ 5873831 h 6335713"/>
              <a:gd name="connsiteX63" fmla="*/ 1676146 w 11879263"/>
              <a:gd name="connsiteY63" fmla="*/ 5869227 h 6335713"/>
              <a:gd name="connsiteX64" fmla="*/ 1639267 w 11879263"/>
              <a:gd name="connsiteY64" fmla="*/ 5869227 h 6335713"/>
              <a:gd name="connsiteX65" fmla="*/ 1634662 w 11879263"/>
              <a:gd name="connsiteY65" fmla="*/ 5873831 h 6335713"/>
              <a:gd name="connsiteX66" fmla="*/ 1588551 w 11879263"/>
              <a:gd name="connsiteY66" fmla="*/ 5901478 h 6335713"/>
              <a:gd name="connsiteX67" fmla="*/ 1528629 w 11879263"/>
              <a:gd name="connsiteY67" fmla="*/ 5846133 h 6335713"/>
              <a:gd name="connsiteX68" fmla="*/ 1533232 w 11879263"/>
              <a:gd name="connsiteY68" fmla="*/ 5841503 h 6335713"/>
              <a:gd name="connsiteX69" fmla="*/ 1685378 w 11879263"/>
              <a:gd name="connsiteY69" fmla="*/ 5841503 h 6335713"/>
              <a:gd name="connsiteX70" fmla="*/ 1689981 w 11879263"/>
              <a:gd name="connsiteY70" fmla="*/ 5836901 h 6335713"/>
              <a:gd name="connsiteX71" fmla="*/ 1689981 w 11879263"/>
              <a:gd name="connsiteY71" fmla="*/ 5823089 h 6335713"/>
              <a:gd name="connsiteX72" fmla="*/ 1583948 w 11879263"/>
              <a:gd name="connsiteY72" fmla="*/ 5703244 h 6335713"/>
              <a:gd name="connsiteX73" fmla="*/ 757294 w 11879263"/>
              <a:gd name="connsiteY73" fmla="*/ 5703244 h 6335713"/>
              <a:gd name="connsiteX74" fmla="*/ 651310 w 11879263"/>
              <a:gd name="connsiteY74" fmla="*/ 5823089 h 6335713"/>
              <a:gd name="connsiteX75" fmla="*/ 761897 w 11879263"/>
              <a:gd name="connsiteY75" fmla="*/ 5942934 h 6335713"/>
              <a:gd name="connsiteX76" fmla="*/ 854095 w 11879263"/>
              <a:gd name="connsiteY76" fmla="*/ 5873831 h 6335713"/>
              <a:gd name="connsiteX77" fmla="*/ 849492 w 11879263"/>
              <a:gd name="connsiteY77" fmla="*/ 5869227 h 6335713"/>
              <a:gd name="connsiteX78" fmla="*/ 812613 w 11879263"/>
              <a:gd name="connsiteY78" fmla="*/ 5869227 h 6335713"/>
              <a:gd name="connsiteX79" fmla="*/ 808008 w 11879263"/>
              <a:gd name="connsiteY79" fmla="*/ 5873831 h 6335713"/>
              <a:gd name="connsiteX80" fmla="*/ 761897 w 11879263"/>
              <a:gd name="connsiteY80" fmla="*/ 5901478 h 6335713"/>
              <a:gd name="connsiteX81" fmla="*/ 701975 w 11879263"/>
              <a:gd name="connsiteY81" fmla="*/ 5846133 h 6335713"/>
              <a:gd name="connsiteX82" fmla="*/ 706578 w 11879263"/>
              <a:gd name="connsiteY82" fmla="*/ 5841503 h 6335713"/>
              <a:gd name="connsiteX83" fmla="*/ 858724 w 11879263"/>
              <a:gd name="connsiteY83" fmla="*/ 5841503 h 6335713"/>
              <a:gd name="connsiteX84" fmla="*/ 863327 w 11879263"/>
              <a:gd name="connsiteY84" fmla="*/ 5836901 h 6335713"/>
              <a:gd name="connsiteX85" fmla="*/ 863327 w 11879263"/>
              <a:gd name="connsiteY85" fmla="*/ 5823089 h 6335713"/>
              <a:gd name="connsiteX86" fmla="*/ 757294 w 11879263"/>
              <a:gd name="connsiteY86" fmla="*/ 5703244 h 6335713"/>
              <a:gd name="connsiteX87" fmla="*/ 1844442 w 11879263"/>
              <a:gd name="connsiteY87" fmla="*/ 5702633 h 6335713"/>
              <a:gd name="connsiteX88" fmla="*/ 1734339 w 11879263"/>
              <a:gd name="connsiteY88" fmla="*/ 5821894 h 6335713"/>
              <a:gd name="connsiteX89" fmla="*/ 1844442 w 11879263"/>
              <a:gd name="connsiteY89" fmla="*/ 5941153 h 6335713"/>
              <a:gd name="connsiteX90" fmla="*/ 1943102 w 11879263"/>
              <a:gd name="connsiteY90" fmla="*/ 5863172 h 6335713"/>
              <a:gd name="connsiteX91" fmla="*/ 1938523 w 11879263"/>
              <a:gd name="connsiteY91" fmla="*/ 5858595 h 6335713"/>
              <a:gd name="connsiteX92" fmla="*/ 1904060 w 11879263"/>
              <a:gd name="connsiteY92" fmla="*/ 5858595 h 6335713"/>
              <a:gd name="connsiteX93" fmla="*/ 1899482 w 11879263"/>
              <a:gd name="connsiteY93" fmla="*/ 5863172 h 6335713"/>
              <a:gd name="connsiteX94" fmla="*/ 1844442 w 11879263"/>
              <a:gd name="connsiteY94" fmla="*/ 5899873 h 6335713"/>
              <a:gd name="connsiteX95" fmla="*/ 1780222 w 11879263"/>
              <a:gd name="connsiteY95" fmla="*/ 5821894 h 6335713"/>
              <a:gd name="connsiteX96" fmla="*/ 1844442 w 11879263"/>
              <a:gd name="connsiteY96" fmla="*/ 5743913 h 6335713"/>
              <a:gd name="connsiteX97" fmla="*/ 1899482 w 11879263"/>
              <a:gd name="connsiteY97" fmla="*/ 5780614 h 6335713"/>
              <a:gd name="connsiteX98" fmla="*/ 1904060 w 11879263"/>
              <a:gd name="connsiteY98" fmla="*/ 5785192 h 6335713"/>
              <a:gd name="connsiteX99" fmla="*/ 1938523 w 11879263"/>
              <a:gd name="connsiteY99" fmla="*/ 5785192 h 6335713"/>
              <a:gd name="connsiteX100" fmla="*/ 1943102 w 11879263"/>
              <a:gd name="connsiteY100" fmla="*/ 5780614 h 6335713"/>
              <a:gd name="connsiteX101" fmla="*/ 1844442 w 11879263"/>
              <a:gd name="connsiteY101" fmla="*/ 5702633 h 6335713"/>
              <a:gd name="connsiteX102" fmla="*/ 965292 w 11879263"/>
              <a:gd name="connsiteY102" fmla="*/ 5701056 h 6335713"/>
              <a:gd name="connsiteX103" fmla="*/ 960663 w 11879263"/>
              <a:gd name="connsiteY103" fmla="*/ 5705660 h 6335713"/>
              <a:gd name="connsiteX104" fmla="*/ 960663 w 11879263"/>
              <a:gd name="connsiteY104" fmla="*/ 5737808 h 6335713"/>
              <a:gd name="connsiteX105" fmla="*/ 965826 w 11879263"/>
              <a:gd name="connsiteY105" fmla="*/ 5742438 h 6335713"/>
              <a:gd name="connsiteX106" fmla="*/ 1043170 w 11879263"/>
              <a:gd name="connsiteY106" fmla="*/ 5742640 h 6335713"/>
              <a:gd name="connsiteX107" fmla="*/ 1047851 w 11879263"/>
              <a:gd name="connsiteY107" fmla="*/ 5737986 h 6335713"/>
              <a:gd name="connsiteX108" fmla="*/ 1047851 w 11879263"/>
              <a:gd name="connsiteY108" fmla="*/ 5705710 h 6335713"/>
              <a:gd name="connsiteX109" fmla="*/ 1043170 w 11879263"/>
              <a:gd name="connsiteY109" fmla="*/ 5701056 h 6335713"/>
              <a:gd name="connsiteX110" fmla="*/ 1133691 w 11879263"/>
              <a:gd name="connsiteY110" fmla="*/ 5700319 h 6335713"/>
              <a:gd name="connsiteX111" fmla="*/ 1129012 w 11879263"/>
              <a:gd name="connsiteY111" fmla="*/ 5704973 h 6335713"/>
              <a:gd name="connsiteX112" fmla="*/ 1129012 w 11879263"/>
              <a:gd name="connsiteY112" fmla="*/ 5737682 h 6335713"/>
              <a:gd name="connsiteX113" fmla="*/ 1133691 w 11879263"/>
              <a:gd name="connsiteY113" fmla="*/ 5742336 h 6335713"/>
              <a:gd name="connsiteX114" fmla="*/ 1177947 w 11879263"/>
              <a:gd name="connsiteY114" fmla="*/ 5742336 h 6335713"/>
              <a:gd name="connsiteX115" fmla="*/ 1222939 w 11879263"/>
              <a:gd name="connsiteY115" fmla="*/ 5784276 h 6335713"/>
              <a:gd name="connsiteX116" fmla="*/ 1222939 w 11879263"/>
              <a:gd name="connsiteY116" fmla="*/ 5793611 h 6335713"/>
              <a:gd name="connsiteX117" fmla="*/ 1218260 w 11879263"/>
              <a:gd name="connsiteY117" fmla="*/ 5798266 h 6335713"/>
              <a:gd name="connsiteX118" fmla="*/ 1176166 w 11879263"/>
              <a:gd name="connsiteY118" fmla="*/ 5793611 h 6335713"/>
              <a:gd name="connsiteX119" fmla="*/ 1073260 w 11879263"/>
              <a:gd name="connsiteY119" fmla="*/ 5868260 h 6335713"/>
              <a:gd name="connsiteX120" fmla="*/ 1152767 w 11879263"/>
              <a:gd name="connsiteY120" fmla="*/ 5942909 h 6335713"/>
              <a:gd name="connsiteX121" fmla="*/ 1218260 w 11879263"/>
              <a:gd name="connsiteY121" fmla="*/ 5914931 h 6335713"/>
              <a:gd name="connsiteX122" fmla="*/ 1222939 w 11879263"/>
              <a:gd name="connsiteY122" fmla="*/ 5914931 h 6335713"/>
              <a:gd name="connsiteX123" fmla="*/ 1227619 w 11879263"/>
              <a:gd name="connsiteY123" fmla="*/ 5933600 h 6335713"/>
              <a:gd name="connsiteX124" fmla="*/ 1232299 w 11879263"/>
              <a:gd name="connsiteY124" fmla="*/ 5938280 h 6335713"/>
              <a:gd name="connsiteX125" fmla="*/ 1265032 w 11879263"/>
              <a:gd name="connsiteY125" fmla="*/ 5938280 h 6335713"/>
              <a:gd name="connsiteX126" fmla="*/ 1269713 w 11879263"/>
              <a:gd name="connsiteY126" fmla="*/ 5933600 h 6335713"/>
              <a:gd name="connsiteX127" fmla="*/ 1269713 w 11879263"/>
              <a:gd name="connsiteY127" fmla="*/ 5802971 h 6335713"/>
              <a:gd name="connsiteX128" fmla="*/ 1178710 w 11879263"/>
              <a:gd name="connsiteY128" fmla="*/ 5700345 h 6335713"/>
              <a:gd name="connsiteX129" fmla="*/ 1178659 w 11879263"/>
              <a:gd name="connsiteY129" fmla="*/ 5700319 h 6335713"/>
              <a:gd name="connsiteX130" fmla="*/ 1338383 w 11879263"/>
              <a:gd name="connsiteY130" fmla="*/ 5654538 h 6335713"/>
              <a:gd name="connsiteX131" fmla="*/ 1333754 w 11879263"/>
              <a:gd name="connsiteY131" fmla="*/ 5659142 h 6335713"/>
              <a:gd name="connsiteX132" fmla="*/ 1333882 w 11879263"/>
              <a:gd name="connsiteY132" fmla="*/ 5892168 h 6335713"/>
              <a:gd name="connsiteX133" fmla="*/ 1338383 w 11879263"/>
              <a:gd name="connsiteY133" fmla="*/ 5896669 h 6335713"/>
              <a:gd name="connsiteX134" fmla="*/ 1375338 w 11879263"/>
              <a:gd name="connsiteY134" fmla="*/ 5896669 h 6335713"/>
              <a:gd name="connsiteX135" fmla="*/ 1380019 w 11879263"/>
              <a:gd name="connsiteY135" fmla="*/ 5891965 h 6335713"/>
              <a:gd name="connsiteX136" fmla="*/ 1379942 w 11879263"/>
              <a:gd name="connsiteY136" fmla="*/ 5747220 h 6335713"/>
              <a:gd name="connsiteX137" fmla="*/ 1384571 w 11879263"/>
              <a:gd name="connsiteY137" fmla="*/ 5742590 h 6335713"/>
              <a:gd name="connsiteX138" fmla="*/ 1435363 w 11879263"/>
              <a:gd name="connsiteY138" fmla="*/ 5742590 h 6335713"/>
              <a:gd name="connsiteX139" fmla="*/ 1439966 w 11879263"/>
              <a:gd name="connsiteY139" fmla="*/ 5737988 h 6335713"/>
              <a:gd name="connsiteX140" fmla="*/ 1439966 w 11879263"/>
              <a:gd name="connsiteY140" fmla="*/ 5705660 h 6335713"/>
              <a:gd name="connsiteX141" fmla="*/ 1435338 w 11879263"/>
              <a:gd name="connsiteY141" fmla="*/ 5701057 h 6335713"/>
              <a:gd name="connsiteX142" fmla="*/ 1384545 w 11879263"/>
              <a:gd name="connsiteY142" fmla="*/ 5701057 h 6335713"/>
              <a:gd name="connsiteX143" fmla="*/ 1379917 w 11879263"/>
              <a:gd name="connsiteY143" fmla="*/ 5696453 h 6335713"/>
              <a:gd name="connsiteX144" fmla="*/ 1379917 w 11879263"/>
              <a:gd name="connsiteY144" fmla="*/ 5659142 h 6335713"/>
              <a:gd name="connsiteX145" fmla="*/ 1375313 w 11879263"/>
              <a:gd name="connsiteY145" fmla="*/ 5654538 h 6335713"/>
              <a:gd name="connsiteX146" fmla="*/ 513967 w 11879263"/>
              <a:gd name="connsiteY146" fmla="*/ 5654538 h 6335713"/>
              <a:gd name="connsiteX147" fmla="*/ 509338 w 11879263"/>
              <a:gd name="connsiteY147" fmla="*/ 5659142 h 6335713"/>
              <a:gd name="connsiteX148" fmla="*/ 509465 w 11879263"/>
              <a:gd name="connsiteY148" fmla="*/ 5892168 h 6335713"/>
              <a:gd name="connsiteX149" fmla="*/ 513967 w 11879263"/>
              <a:gd name="connsiteY149" fmla="*/ 5896669 h 6335713"/>
              <a:gd name="connsiteX150" fmla="*/ 550922 w 11879263"/>
              <a:gd name="connsiteY150" fmla="*/ 5896669 h 6335713"/>
              <a:gd name="connsiteX151" fmla="*/ 555603 w 11879263"/>
              <a:gd name="connsiteY151" fmla="*/ 5891965 h 6335713"/>
              <a:gd name="connsiteX152" fmla="*/ 555527 w 11879263"/>
              <a:gd name="connsiteY152" fmla="*/ 5747220 h 6335713"/>
              <a:gd name="connsiteX153" fmla="*/ 560155 w 11879263"/>
              <a:gd name="connsiteY153" fmla="*/ 5742590 h 6335713"/>
              <a:gd name="connsiteX154" fmla="*/ 610947 w 11879263"/>
              <a:gd name="connsiteY154" fmla="*/ 5742590 h 6335713"/>
              <a:gd name="connsiteX155" fmla="*/ 615550 w 11879263"/>
              <a:gd name="connsiteY155" fmla="*/ 5737988 h 6335713"/>
              <a:gd name="connsiteX156" fmla="*/ 615550 w 11879263"/>
              <a:gd name="connsiteY156" fmla="*/ 5705660 h 6335713"/>
              <a:gd name="connsiteX157" fmla="*/ 610922 w 11879263"/>
              <a:gd name="connsiteY157" fmla="*/ 5701057 h 6335713"/>
              <a:gd name="connsiteX158" fmla="*/ 560129 w 11879263"/>
              <a:gd name="connsiteY158" fmla="*/ 5701057 h 6335713"/>
              <a:gd name="connsiteX159" fmla="*/ 555501 w 11879263"/>
              <a:gd name="connsiteY159" fmla="*/ 5696453 h 6335713"/>
              <a:gd name="connsiteX160" fmla="*/ 555501 w 11879263"/>
              <a:gd name="connsiteY160" fmla="*/ 5659142 h 6335713"/>
              <a:gd name="connsiteX161" fmla="*/ 550897 w 11879263"/>
              <a:gd name="connsiteY161" fmla="*/ 5654538 h 6335713"/>
              <a:gd name="connsiteX162" fmla="*/ 403736 w 11879263"/>
              <a:gd name="connsiteY162" fmla="*/ 5654538 h 6335713"/>
              <a:gd name="connsiteX163" fmla="*/ 399108 w 11879263"/>
              <a:gd name="connsiteY163" fmla="*/ 5658735 h 6335713"/>
              <a:gd name="connsiteX164" fmla="*/ 399108 w 11879263"/>
              <a:gd name="connsiteY164" fmla="*/ 5696835 h 6335713"/>
              <a:gd name="connsiteX165" fmla="*/ 403381 w 11879263"/>
              <a:gd name="connsiteY165" fmla="*/ 5700701 h 6335713"/>
              <a:gd name="connsiteX166" fmla="*/ 440666 w 11879263"/>
              <a:gd name="connsiteY166" fmla="*/ 5700701 h 6335713"/>
              <a:gd name="connsiteX167" fmla="*/ 445271 w 11879263"/>
              <a:gd name="connsiteY167" fmla="*/ 5696631 h 6335713"/>
              <a:gd name="connsiteX168" fmla="*/ 445271 w 11879263"/>
              <a:gd name="connsiteY168" fmla="*/ 5658735 h 6335713"/>
              <a:gd name="connsiteX169" fmla="*/ 440666 w 11879263"/>
              <a:gd name="connsiteY169" fmla="*/ 5654538 h 6335713"/>
              <a:gd name="connsiteX170" fmla="*/ 0 w 11879263"/>
              <a:gd name="connsiteY170" fmla="*/ 0 h 6335713"/>
              <a:gd name="connsiteX171" fmla="*/ 11879263 w 11879263"/>
              <a:gd name="connsiteY171" fmla="*/ 0 h 6335713"/>
              <a:gd name="connsiteX172" fmla="*/ 11879263 w 11879263"/>
              <a:gd name="connsiteY172" fmla="*/ 6335713 h 6335713"/>
              <a:gd name="connsiteX173" fmla="*/ 0 w 11879263"/>
              <a:gd name="connsiteY173" fmla="*/ 6335713 h 6335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</a:cxnLst>
            <a:rect l="l" t="t" r="r" b="b"/>
            <a:pathLst>
              <a:path w="11879263" h="6335713">
                <a:moveTo>
                  <a:pt x="564555" y="5896873"/>
                </a:moveTo>
                <a:lnTo>
                  <a:pt x="560130" y="5901274"/>
                </a:lnTo>
                <a:lnTo>
                  <a:pt x="560002" y="5933676"/>
                </a:lnTo>
                <a:lnTo>
                  <a:pt x="564631" y="5938281"/>
                </a:lnTo>
                <a:lnTo>
                  <a:pt x="610793" y="5938281"/>
                </a:lnTo>
                <a:lnTo>
                  <a:pt x="615397" y="5933676"/>
                </a:lnTo>
                <a:lnTo>
                  <a:pt x="615524" y="5901477"/>
                </a:lnTo>
                <a:lnTo>
                  <a:pt x="610920" y="5896873"/>
                </a:lnTo>
                <a:close/>
                <a:moveTo>
                  <a:pt x="1388971" y="5896720"/>
                </a:moveTo>
                <a:lnTo>
                  <a:pt x="1384545" y="5901146"/>
                </a:lnTo>
                <a:lnTo>
                  <a:pt x="1384545" y="5933650"/>
                </a:lnTo>
                <a:lnTo>
                  <a:pt x="1389149" y="5938255"/>
                </a:lnTo>
                <a:lnTo>
                  <a:pt x="1435336" y="5938255"/>
                </a:lnTo>
                <a:lnTo>
                  <a:pt x="1439941" y="5933650"/>
                </a:lnTo>
                <a:lnTo>
                  <a:pt x="1439941" y="5901324"/>
                </a:lnTo>
                <a:lnTo>
                  <a:pt x="1435336" y="5896720"/>
                </a:lnTo>
                <a:close/>
                <a:moveTo>
                  <a:pt x="1180846" y="5830923"/>
                </a:moveTo>
                <a:cubicBezTo>
                  <a:pt x="1204221" y="5830923"/>
                  <a:pt x="1218260" y="5835577"/>
                  <a:pt x="1218260" y="5835577"/>
                </a:cubicBezTo>
                <a:lnTo>
                  <a:pt x="1222939" y="5840257"/>
                </a:lnTo>
                <a:lnTo>
                  <a:pt x="1222939" y="5854271"/>
                </a:lnTo>
                <a:cubicBezTo>
                  <a:pt x="1222939" y="5882274"/>
                  <a:pt x="1199540" y="5900917"/>
                  <a:pt x="1162127" y="5900917"/>
                </a:cubicBezTo>
                <a:cubicBezTo>
                  <a:pt x="1134073" y="5900917"/>
                  <a:pt x="1120034" y="5891583"/>
                  <a:pt x="1120034" y="5868260"/>
                </a:cubicBezTo>
                <a:cubicBezTo>
                  <a:pt x="1120034" y="5844936"/>
                  <a:pt x="1138752" y="5830923"/>
                  <a:pt x="1180846" y="5830923"/>
                </a:cubicBezTo>
                <a:close/>
                <a:moveTo>
                  <a:pt x="1583948" y="5744702"/>
                </a:moveTo>
                <a:cubicBezTo>
                  <a:pt x="1634662" y="5744702"/>
                  <a:pt x="1639267" y="5786235"/>
                  <a:pt x="1639267" y="5800072"/>
                </a:cubicBezTo>
                <a:lnTo>
                  <a:pt x="1634662" y="5804675"/>
                </a:lnTo>
                <a:lnTo>
                  <a:pt x="1533232" y="5804675"/>
                </a:lnTo>
                <a:lnTo>
                  <a:pt x="1528629" y="5800072"/>
                </a:lnTo>
                <a:cubicBezTo>
                  <a:pt x="1528629" y="5786235"/>
                  <a:pt x="1533232" y="5744702"/>
                  <a:pt x="1583948" y="5744702"/>
                </a:cubicBezTo>
                <a:close/>
                <a:moveTo>
                  <a:pt x="757294" y="5744702"/>
                </a:moveTo>
                <a:cubicBezTo>
                  <a:pt x="808008" y="5744702"/>
                  <a:pt x="812613" y="5786235"/>
                  <a:pt x="812613" y="5800072"/>
                </a:cubicBezTo>
                <a:lnTo>
                  <a:pt x="808008" y="5804675"/>
                </a:lnTo>
                <a:lnTo>
                  <a:pt x="706578" y="5804675"/>
                </a:lnTo>
                <a:lnTo>
                  <a:pt x="701975" y="5800072"/>
                </a:lnTo>
                <a:cubicBezTo>
                  <a:pt x="701975" y="5786235"/>
                  <a:pt x="706578" y="5744702"/>
                  <a:pt x="757294" y="5744702"/>
                </a:cubicBezTo>
                <a:close/>
                <a:moveTo>
                  <a:pt x="403712" y="5742718"/>
                </a:moveTo>
                <a:lnTo>
                  <a:pt x="399108" y="5747347"/>
                </a:lnTo>
                <a:lnTo>
                  <a:pt x="399108" y="5933651"/>
                </a:lnTo>
                <a:lnTo>
                  <a:pt x="403712" y="5938256"/>
                </a:lnTo>
                <a:lnTo>
                  <a:pt x="440666" y="5938256"/>
                </a:lnTo>
                <a:lnTo>
                  <a:pt x="445271" y="5933651"/>
                </a:lnTo>
                <a:lnTo>
                  <a:pt x="445271" y="5747347"/>
                </a:lnTo>
                <a:lnTo>
                  <a:pt x="440666" y="5742718"/>
                </a:lnTo>
                <a:close/>
                <a:moveTo>
                  <a:pt x="1085492" y="5742616"/>
                </a:moveTo>
                <a:lnTo>
                  <a:pt x="1080813" y="5747270"/>
                </a:lnTo>
                <a:lnTo>
                  <a:pt x="1080813" y="5782726"/>
                </a:lnTo>
                <a:lnTo>
                  <a:pt x="1085492" y="5787380"/>
                </a:lnTo>
                <a:lnTo>
                  <a:pt x="1122906" y="5787380"/>
                </a:lnTo>
                <a:lnTo>
                  <a:pt x="1127587" y="5782726"/>
                </a:lnTo>
                <a:lnTo>
                  <a:pt x="1127587" y="5747270"/>
                </a:lnTo>
                <a:lnTo>
                  <a:pt x="1122906" y="5742616"/>
                </a:lnTo>
                <a:close/>
                <a:moveTo>
                  <a:pt x="916865" y="5742616"/>
                </a:moveTo>
                <a:lnTo>
                  <a:pt x="912186" y="5747270"/>
                </a:lnTo>
                <a:lnTo>
                  <a:pt x="912186" y="5933600"/>
                </a:lnTo>
                <a:lnTo>
                  <a:pt x="916865" y="5938256"/>
                </a:lnTo>
                <a:lnTo>
                  <a:pt x="954279" y="5938256"/>
                </a:lnTo>
                <a:lnTo>
                  <a:pt x="958958" y="5933600"/>
                </a:lnTo>
                <a:lnTo>
                  <a:pt x="958958" y="5747270"/>
                </a:lnTo>
                <a:lnTo>
                  <a:pt x="953744" y="5742616"/>
                </a:lnTo>
                <a:close/>
                <a:moveTo>
                  <a:pt x="1583948" y="5703244"/>
                </a:moveTo>
                <a:cubicBezTo>
                  <a:pt x="1510215" y="5703244"/>
                  <a:pt x="1477964" y="5758512"/>
                  <a:pt x="1477964" y="5823089"/>
                </a:cubicBezTo>
                <a:cubicBezTo>
                  <a:pt x="1477964" y="5892245"/>
                  <a:pt x="1514818" y="5942934"/>
                  <a:pt x="1588551" y="5942934"/>
                </a:cubicBezTo>
                <a:cubicBezTo>
                  <a:pt x="1643870" y="5942934"/>
                  <a:pt x="1676146" y="5910685"/>
                  <a:pt x="1680749" y="5873831"/>
                </a:cubicBezTo>
                <a:lnTo>
                  <a:pt x="1676146" y="5869227"/>
                </a:lnTo>
                <a:lnTo>
                  <a:pt x="1639267" y="5869227"/>
                </a:lnTo>
                <a:lnTo>
                  <a:pt x="1634662" y="5873831"/>
                </a:lnTo>
                <a:cubicBezTo>
                  <a:pt x="1625430" y="5896873"/>
                  <a:pt x="1606990" y="5901478"/>
                  <a:pt x="1588551" y="5901478"/>
                </a:cubicBezTo>
                <a:cubicBezTo>
                  <a:pt x="1533232" y="5901478"/>
                  <a:pt x="1528629" y="5855366"/>
                  <a:pt x="1528629" y="5846133"/>
                </a:cubicBezTo>
                <a:lnTo>
                  <a:pt x="1533232" y="5841503"/>
                </a:lnTo>
                <a:lnTo>
                  <a:pt x="1685378" y="5841503"/>
                </a:lnTo>
                <a:lnTo>
                  <a:pt x="1689981" y="5836901"/>
                </a:lnTo>
                <a:lnTo>
                  <a:pt x="1689981" y="5823089"/>
                </a:lnTo>
                <a:cubicBezTo>
                  <a:pt x="1689981" y="5758538"/>
                  <a:pt x="1657706" y="5703244"/>
                  <a:pt x="1583948" y="5703244"/>
                </a:cubicBezTo>
                <a:close/>
                <a:moveTo>
                  <a:pt x="757294" y="5703244"/>
                </a:moveTo>
                <a:cubicBezTo>
                  <a:pt x="683561" y="5703244"/>
                  <a:pt x="651310" y="5758512"/>
                  <a:pt x="651310" y="5823089"/>
                </a:cubicBezTo>
                <a:cubicBezTo>
                  <a:pt x="651310" y="5892245"/>
                  <a:pt x="688164" y="5942934"/>
                  <a:pt x="761897" y="5942934"/>
                </a:cubicBezTo>
                <a:cubicBezTo>
                  <a:pt x="817215" y="5942934"/>
                  <a:pt x="849492" y="5910685"/>
                  <a:pt x="854095" y="5873831"/>
                </a:cubicBezTo>
                <a:lnTo>
                  <a:pt x="849492" y="5869227"/>
                </a:lnTo>
                <a:lnTo>
                  <a:pt x="812613" y="5869227"/>
                </a:lnTo>
                <a:lnTo>
                  <a:pt x="808008" y="5873831"/>
                </a:lnTo>
                <a:cubicBezTo>
                  <a:pt x="798776" y="5896873"/>
                  <a:pt x="780336" y="5901478"/>
                  <a:pt x="761897" y="5901478"/>
                </a:cubicBezTo>
                <a:cubicBezTo>
                  <a:pt x="706578" y="5901478"/>
                  <a:pt x="701975" y="5855366"/>
                  <a:pt x="701975" y="5846133"/>
                </a:cubicBezTo>
                <a:lnTo>
                  <a:pt x="706578" y="5841503"/>
                </a:lnTo>
                <a:lnTo>
                  <a:pt x="858724" y="5841503"/>
                </a:lnTo>
                <a:lnTo>
                  <a:pt x="863327" y="5836901"/>
                </a:lnTo>
                <a:lnTo>
                  <a:pt x="863327" y="5823089"/>
                </a:lnTo>
                <a:cubicBezTo>
                  <a:pt x="863327" y="5758538"/>
                  <a:pt x="831052" y="5703244"/>
                  <a:pt x="757294" y="5703244"/>
                </a:cubicBezTo>
                <a:close/>
                <a:moveTo>
                  <a:pt x="1844442" y="5702633"/>
                </a:moveTo>
                <a:cubicBezTo>
                  <a:pt x="1775644" y="5702633"/>
                  <a:pt x="1734339" y="5748516"/>
                  <a:pt x="1734339" y="5821894"/>
                </a:cubicBezTo>
                <a:cubicBezTo>
                  <a:pt x="1734339" y="5895271"/>
                  <a:pt x="1775619" y="5941153"/>
                  <a:pt x="1844442" y="5941153"/>
                </a:cubicBezTo>
                <a:cubicBezTo>
                  <a:pt x="1908664" y="5941153"/>
                  <a:pt x="1938523" y="5904452"/>
                  <a:pt x="1943102" y="5863172"/>
                </a:cubicBezTo>
                <a:lnTo>
                  <a:pt x="1938523" y="5858595"/>
                </a:lnTo>
                <a:lnTo>
                  <a:pt x="1904060" y="5858595"/>
                </a:lnTo>
                <a:lnTo>
                  <a:pt x="1899482" y="5863172"/>
                </a:lnTo>
                <a:cubicBezTo>
                  <a:pt x="1894903" y="5881510"/>
                  <a:pt x="1881144" y="5899873"/>
                  <a:pt x="1844442" y="5899873"/>
                </a:cubicBezTo>
                <a:cubicBezTo>
                  <a:pt x="1803164" y="5899873"/>
                  <a:pt x="1780222" y="5872354"/>
                  <a:pt x="1780222" y="5821894"/>
                </a:cubicBezTo>
                <a:cubicBezTo>
                  <a:pt x="1780222" y="5771432"/>
                  <a:pt x="1803164" y="5743913"/>
                  <a:pt x="1844442" y="5743913"/>
                </a:cubicBezTo>
                <a:cubicBezTo>
                  <a:pt x="1881144" y="5743913"/>
                  <a:pt x="1894903" y="5762251"/>
                  <a:pt x="1899482" y="5780614"/>
                </a:cubicBezTo>
                <a:lnTo>
                  <a:pt x="1904060" y="5785192"/>
                </a:lnTo>
                <a:lnTo>
                  <a:pt x="1938523" y="5785192"/>
                </a:lnTo>
                <a:lnTo>
                  <a:pt x="1943102" y="5780614"/>
                </a:lnTo>
                <a:cubicBezTo>
                  <a:pt x="1938523" y="5739334"/>
                  <a:pt x="1908638" y="5702633"/>
                  <a:pt x="1844442" y="5702633"/>
                </a:cubicBezTo>
                <a:close/>
                <a:moveTo>
                  <a:pt x="965292" y="5701056"/>
                </a:moveTo>
                <a:lnTo>
                  <a:pt x="960663" y="5705660"/>
                </a:lnTo>
                <a:lnTo>
                  <a:pt x="960663" y="5737808"/>
                </a:lnTo>
                <a:lnTo>
                  <a:pt x="965826" y="5742438"/>
                </a:lnTo>
                <a:lnTo>
                  <a:pt x="1043170" y="5742640"/>
                </a:lnTo>
                <a:lnTo>
                  <a:pt x="1047851" y="5737986"/>
                </a:lnTo>
                <a:lnTo>
                  <a:pt x="1047851" y="5705710"/>
                </a:lnTo>
                <a:lnTo>
                  <a:pt x="1043170" y="5701056"/>
                </a:lnTo>
                <a:close/>
                <a:moveTo>
                  <a:pt x="1133691" y="5700319"/>
                </a:moveTo>
                <a:lnTo>
                  <a:pt x="1129012" y="5704973"/>
                </a:lnTo>
                <a:lnTo>
                  <a:pt x="1129012" y="5737682"/>
                </a:lnTo>
                <a:lnTo>
                  <a:pt x="1133691" y="5742336"/>
                </a:lnTo>
                <a:lnTo>
                  <a:pt x="1177947" y="5742336"/>
                </a:lnTo>
                <a:cubicBezTo>
                  <a:pt x="1209383" y="5742692"/>
                  <a:pt x="1222939" y="5752256"/>
                  <a:pt x="1222939" y="5784276"/>
                </a:cubicBezTo>
                <a:lnTo>
                  <a:pt x="1222939" y="5793611"/>
                </a:lnTo>
                <a:lnTo>
                  <a:pt x="1218260" y="5798266"/>
                </a:lnTo>
                <a:cubicBezTo>
                  <a:pt x="1218260" y="5798266"/>
                  <a:pt x="1199540" y="5793611"/>
                  <a:pt x="1176166" y="5793611"/>
                </a:cubicBezTo>
                <a:cubicBezTo>
                  <a:pt x="1115353" y="5793611"/>
                  <a:pt x="1073260" y="5816935"/>
                  <a:pt x="1073260" y="5868260"/>
                </a:cubicBezTo>
                <a:cubicBezTo>
                  <a:pt x="1073260" y="5914905"/>
                  <a:pt x="1101314" y="5942909"/>
                  <a:pt x="1152767" y="5942909"/>
                </a:cubicBezTo>
                <a:cubicBezTo>
                  <a:pt x="1199540" y="5942909"/>
                  <a:pt x="1218260" y="5914931"/>
                  <a:pt x="1218260" y="5914931"/>
                </a:cubicBezTo>
                <a:lnTo>
                  <a:pt x="1222939" y="5914931"/>
                </a:lnTo>
                <a:lnTo>
                  <a:pt x="1227619" y="5933600"/>
                </a:lnTo>
                <a:lnTo>
                  <a:pt x="1232299" y="5938280"/>
                </a:lnTo>
                <a:lnTo>
                  <a:pt x="1265032" y="5938280"/>
                </a:lnTo>
                <a:lnTo>
                  <a:pt x="1269713" y="5933600"/>
                </a:lnTo>
                <a:lnTo>
                  <a:pt x="1269713" y="5802971"/>
                </a:lnTo>
                <a:cubicBezTo>
                  <a:pt x="1269713" y="5733816"/>
                  <a:pt x="1246872" y="5701133"/>
                  <a:pt x="1178710" y="5700345"/>
                </a:cubicBezTo>
                <a:lnTo>
                  <a:pt x="1178659" y="5700319"/>
                </a:lnTo>
                <a:close/>
                <a:moveTo>
                  <a:pt x="1338383" y="5654538"/>
                </a:moveTo>
                <a:lnTo>
                  <a:pt x="1333754" y="5659142"/>
                </a:lnTo>
                <a:cubicBezTo>
                  <a:pt x="1333754" y="5659142"/>
                  <a:pt x="1333831" y="5890718"/>
                  <a:pt x="1333882" y="5892168"/>
                </a:cubicBezTo>
                <a:lnTo>
                  <a:pt x="1338383" y="5896669"/>
                </a:lnTo>
                <a:lnTo>
                  <a:pt x="1375338" y="5896669"/>
                </a:lnTo>
                <a:lnTo>
                  <a:pt x="1380019" y="5891965"/>
                </a:lnTo>
                <a:lnTo>
                  <a:pt x="1379942" y="5747220"/>
                </a:lnTo>
                <a:lnTo>
                  <a:pt x="1384571" y="5742590"/>
                </a:lnTo>
                <a:lnTo>
                  <a:pt x="1435363" y="5742590"/>
                </a:lnTo>
                <a:lnTo>
                  <a:pt x="1439966" y="5737988"/>
                </a:lnTo>
                <a:lnTo>
                  <a:pt x="1439966" y="5705660"/>
                </a:lnTo>
                <a:lnTo>
                  <a:pt x="1435338" y="5701057"/>
                </a:lnTo>
                <a:lnTo>
                  <a:pt x="1384545" y="5701057"/>
                </a:lnTo>
                <a:lnTo>
                  <a:pt x="1379917" y="5696453"/>
                </a:lnTo>
                <a:lnTo>
                  <a:pt x="1379917" y="5659142"/>
                </a:lnTo>
                <a:lnTo>
                  <a:pt x="1375313" y="5654538"/>
                </a:lnTo>
                <a:close/>
                <a:moveTo>
                  <a:pt x="513967" y="5654538"/>
                </a:moveTo>
                <a:lnTo>
                  <a:pt x="509338" y="5659142"/>
                </a:lnTo>
                <a:cubicBezTo>
                  <a:pt x="509338" y="5659142"/>
                  <a:pt x="509414" y="5890718"/>
                  <a:pt x="509465" y="5892168"/>
                </a:cubicBezTo>
                <a:lnTo>
                  <a:pt x="513967" y="5896669"/>
                </a:lnTo>
                <a:lnTo>
                  <a:pt x="550922" y="5896669"/>
                </a:lnTo>
                <a:lnTo>
                  <a:pt x="555603" y="5891965"/>
                </a:lnTo>
                <a:lnTo>
                  <a:pt x="555527" y="5747220"/>
                </a:lnTo>
                <a:lnTo>
                  <a:pt x="560155" y="5742590"/>
                </a:lnTo>
                <a:lnTo>
                  <a:pt x="610947" y="5742590"/>
                </a:lnTo>
                <a:lnTo>
                  <a:pt x="615550" y="5737988"/>
                </a:lnTo>
                <a:lnTo>
                  <a:pt x="615550" y="5705660"/>
                </a:lnTo>
                <a:lnTo>
                  <a:pt x="610922" y="5701057"/>
                </a:lnTo>
                <a:lnTo>
                  <a:pt x="560129" y="5701057"/>
                </a:lnTo>
                <a:lnTo>
                  <a:pt x="555501" y="5696453"/>
                </a:lnTo>
                <a:lnTo>
                  <a:pt x="555501" y="5659142"/>
                </a:lnTo>
                <a:lnTo>
                  <a:pt x="550897" y="5654538"/>
                </a:lnTo>
                <a:close/>
                <a:moveTo>
                  <a:pt x="403736" y="5654538"/>
                </a:moveTo>
                <a:lnTo>
                  <a:pt x="399108" y="5658735"/>
                </a:lnTo>
                <a:lnTo>
                  <a:pt x="399108" y="5696835"/>
                </a:lnTo>
                <a:lnTo>
                  <a:pt x="403381" y="5700701"/>
                </a:lnTo>
                <a:lnTo>
                  <a:pt x="440666" y="5700701"/>
                </a:lnTo>
                <a:lnTo>
                  <a:pt x="445271" y="5696631"/>
                </a:lnTo>
                <a:lnTo>
                  <a:pt x="445271" y="5658735"/>
                </a:lnTo>
                <a:lnTo>
                  <a:pt x="440666" y="5654538"/>
                </a:lnTo>
                <a:close/>
                <a:moveTo>
                  <a:pt x="0" y="0"/>
                </a:moveTo>
                <a:lnTo>
                  <a:pt x="11879263" y="0"/>
                </a:lnTo>
                <a:lnTo>
                  <a:pt x="11879263" y="6335713"/>
                </a:lnTo>
                <a:lnTo>
                  <a:pt x="0" y="6335713"/>
                </a:lnTo>
                <a:close/>
              </a:path>
            </a:pathLst>
          </a:custGeom>
          <a:noFill/>
        </p:spPr>
        <p:txBody>
          <a:bodyPr wrap="square" bIns="864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  <a:lvl2pPr algn="ctr">
              <a:defRPr sz="1000"/>
            </a:lvl2pPr>
          </a:lstStyle>
          <a:p>
            <a:pPr lvl="0"/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3" name="Schmuckkasten">
            <a:extLst>
              <a:ext uri="{FF2B5EF4-FFF2-40B4-BE49-F238E27FC236}">
                <a16:creationId xmlns:a16="http://schemas.microsoft.com/office/drawing/2014/main" id="{25AA0E0E-ADBD-4F38-9014-E9519D4D20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088291" y="5543713"/>
            <a:ext cx="792000" cy="792000"/>
          </a:xfrm>
          <a:solidFill>
            <a:schemeClr val="bg1"/>
          </a:solidFill>
          <a:ln w="3175">
            <a:noFill/>
          </a:ln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Schmuckkasten">
            <a:extLst>
              <a:ext uri="{FF2B5EF4-FFF2-40B4-BE49-F238E27FC236}">
                <a16:creationId xmlns:a16="http://schemas.microsoft.com/office/drawing/2014/main" id="{6F4E0683-A601-4717-AC93-6C09096BA9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088291" y="3960032"/>
            <a:ext cx="792000" cy="792000"/>
          </a:xfrm>
          <a:solidFill>
            <a:schemeClr val="accent2"/>
          </a:solidFill>
          <a:ln w="3175">
            <a:noFill/>
          </a:ln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Schmuckkasten">
            <a:extLst>
              <a:ext uri="{FF2B5EF4-FFF2-40B4-BE49-F238E27FC236}">
                <a16:creationId xmlns:a16="http://schemas.microsoft.com/office/drawing/2014/main" id="{98FF28BF-CEE7-4FD3-B88E-A00908756E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04115" y="4752032"/>
            <a:ext cx="792000" cy="792000"/>
          </a:xfrm>
          <a:solidFill>
            <a:schemeClr val="accent3"/>
          </a:solidFill>
          <a:ln w="3175">
            <a:noFill/>
          </a:ln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Schmuckkasten">
            <a:extLst>
              <a:ext uri="{FF2B5EF4-FFF2-40B4-BE49-F238E27FC236}">
                <a16:creationId xmlns:a16="http://schemas.microsoft.com/office/drawing/2014/main" id="{FB24A518-545B-4D87-B118-662CA80F89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296203" y="4752120"/>
            <a:ext cx="792000" cy="792000"/>
          </a:xfrm>
          <a:solidFill>
            <a:schemeClr val="accent3"/>
          </a:solidFill>
          <a:ln w="3175">
            <a:noFill/>
          </a:ln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Schmuckkasten">
            <a:extLst>
              <a:ext uri="{FF2B5EF4-FFF2-40B4-BE49-F238E27FC236}">
                <a16:creationId xmlns:a16="http://schemas.microsoft.com/office/drawing/2014/main" id="{17DAD7BF-2B9E-46E3-8163-7084421BE5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296203" y="5543713"/>
            <a:ext cx="792000" cy="792000"/>
          </a:xfrm>
          <a:solidFill>
            <a:schemeClr val="tx1"/>
          </a:solidFill>
          <a:ln w="3175">
            <a:noFill/>
          </a:ln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5" name="Schmuckkasten">
            <a:extLst>
              <a:ext uri="{FF2B5EF4-FFF2-40B4-BE49-F238E27FC236}">
                <a16:creationId xmlns:a16="http://schemas.microsoft.com/office/drawing/2014/main" id="{0527E639-2DEF-475B-9418-D05F45BFDC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83147" y="1583680"/>
            <a:ext cx="792000" cy="792000"/>
          </a:xfrm>
          <a:solidFill>
            <a:schemeClr val="accent3"/>
          </a:solidFill>
          <a:ln w="3175">
            <a:noFill/>
          </a:ln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7" name="Schmuckkasten">
            <a:extLst>
              <a:ext uri="{FF2B5EF4-FFF2-40B4-BE49-F238E27FC236}">
                <a16:creationId xmlns:a16="http://schemas.microsoft.com/office/drawing/2014/main" id="{4E84579C-568E-4530-885F-39D2CA4F9A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1059" y="791592"/>
            <a:ext cx="792000" cy="792000"/>
          </a:xfrm>
          <a:solidFill>
            <a:schemeClr val="accent3"/>
          </a:solidFill>
          <a:ln w="127">
            <a:noFill/>
          </a:ln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8" name="Schmuckkasten">
            <a:extLst>
              <a:ext uri="{FF2B5EF4-FFF2-40B4-BE49-F238E27FC236}">
                <a16:creationId xmlns:a16="http://schemas.microsoft.com/office/drawing/2014/main" id="{7460217A-EE20-4EEB-9DAF-3C51A91ED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0" y="791592"/>
            <a:ext cx="792000" cy="792000"/>
          </a:xfrm>
          <a:solidFill>
            <a:schemeClr val="accent2"/>
          </a:solidFill>
          <a:ln w="127">
            <a:noFill/>
          </a:ln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9" name="Schmuckkasten">
            <a:extLst>
              <a:ext uri="{FF2B5EF4-FFF2-40B4-BE49-F238E27FC236}">
                <a16:creationId xmlns:a16="http://schemas.microsoft.com/office/drawing/2014/main" id="{B412580A-D4C3-4E48-918C-ABAB0D33BB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-408"/>
            <a:ext cx="792000" cy="792000"/>
          </a:xfrm>
          <a:solidFill>
            <a:schemeClr val="bg1"/>
          </a:solidFill>
          <a:ln w="3175">
            <a:noFill/>
          </a:ln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44119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p15="http://schemas.microsoft.com/office/powerpoint/2012/main" xmlns:a16="http://schemas.microsoft.com/office/drawing/2014/main" xmlns:adec="http://schemas.microsoft.com/office/drawing/2017/decorative">
      <p:transition/>
    </mc:Fallback>
  </mc:AlternateContent>
  <p:extLst>
    <p:ext uri="{DCECCB84-F9BA-43D5-87BE-67443E8EF086}">
      <p15:sldGuideLst xmlns:p15="http://schemas.microsoft.com/office/powerpoint/2012/main">
        <p15:guide id="1" orient="horz" pos="1995">
          <p15:clr>
            <a:srgbClr val="FBAE40"/>
          </p15:clr>
        </p15:guide>
        <p15:guide id="2" pos="374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|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Kapitel">
            <a:extLst>
              <a:ext uri="{FF2B5EF4-FFF2-40B4-BE49-F238E27FC236}">
                <a16:creationId xmlns:a16="http://schemas.microsoft.com/office/drawing/2014/main" id="{B99D3C98-D3C3-4D70-9705-A2A630FA6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1946" y="1584325"/>
            <a:ext cx="4752000" cy="1619367"/>
          </a:xfrm>
        </p:spPr>
        <p:txBody>
          <a:bodyPr anchor="b"/>
          <a:lstStyle>
            <a:lvl1pPr>
              <a:defRPr sz="3600" b="1" spc="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Name des aktuellen Kapitels</a:t>
            </a:r>
          </a:p>
        </p:txBody>
      </p:sp>
      <p:sp>
        <p:nvSpPr>
          <p:cNvPr id="15" name="Kurzbeschreibung">
            <a:extLst>
              <a:ext uri="{FF2B5EF4-FFF2-40B4-BE49-F238E27FC236}">
                <a16:creationId xmlns:a16="http://schemas.microsoft.com/office/drawing/2014/main" id="{942FA83A-1852-4C32-85F8-FA1B9D8EEE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7583" y="3383816"/>
            <a:ext cx="4752000" cy="1440000"/>
          </a:xfrm>
        </p:spPr>
        <p:txBody>
          <a:bodyPr lIns="360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Optionale Kurzbeschreibung des Kapitels.</a:t>
            </a:r>
          </a:p>
        </p:txBody>
      </p:sp>
      <p:sp>
        <p:nvSpPr>
          <p:cNvPr id="18" name="Bild">
            <a:extLst>
              <a:ext uri="{FF2B5EF4-FFF2-40B4-BE49-F238E27FC236}">
                <a16:creationId xmlns:a16="http://schemas.microsoft.com/office/drawing/2014/main" id="{451B5051-8702-4827-AF9F-3A6048A0470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-1" y="0"/>
            <a:ext cx="4103689" cy="6335713"/>
          </a:xfrm>
          <a:noFill/>
        </p:spPr>
        <p:txBody>
          <a:bodyPr vert="horz" lIns="0" tIns="0" rIns="0" bIns="864000" rtlCol="0" anchor="ctr" anchorCtr="1">
            <a:noAutofit/>
          </a:bodyPr>
          <a:lstStyle>
            <a:lvl1pPr marL="0" indent="0" algn="ctr">
              <a:buNone/>
              <a:defRPr lang="de-DE" sz="1000" b="0" dirty="0">
                <a:solidFill>
                  <a:sysClr val="windowText" lastClr="000000"/>
                </a:solidFill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</a:pPr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 Symbol hinzufügen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53EE1E14-32A2-434F-A448-505E4F02C0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7203" y="395548"/>
            <a:ext cx="1547044" cy="288000"/>
          </a:xfrm>
          <a:prstGeom prst="rect">
            <a:avLst/>
          </a:prstGeom>
        </p:spPr>
      </p:pic>
      <p:sp>
        <p:nvSpPr>
          <p:cNvPr id="172" name="Schmuckkasten">
            <a:extLst>
              <a:ext uri="{FF2B5EF4-FFF2-40B4-BE49-F238E27FC236}">
                <a16:creationId xmlns:a16="http://schemas.microsoft.com/office/drawing/2014/main" id="{44347288-6856-42F3-9587-E705D8DD7F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11427" y="4752120"/>
            <a:ext cx="792000" cy="792000"/>
          </a:xfrm>
          <a:solidFill>
            <a:schemeClr val="tx2"/>
          </a:solidFill>
          <a:ln>
            <a:noFill/>
          </a:ln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3D451AC-4140-46EE-830C-4BCA0937CC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103427" y="0"/>
            <a:ext cx="7776864" cy="6336208"/>
            <a:chOff x="4103427" y="0"/>
            <a:chExt cx="7776864" cy="6336208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AC09C835-1438-42E4-B98F-0B00EFC3B02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11088291" y="3960032"/>
              <a:ext cx="792000" cy="7920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47ED9F87-C5B6-47ED-A699-ED0CC336661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11088291" y="3168032"/>
              <a:ext cx="792000" cy="792000"/>
            </a:xfrm>
            <a:prstGeom prst="rect">
              <a:avLst/>
            </a:pr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C226830E-B7AE-4DA7-8F95-23A2CE2374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10296203" y="4752120"/>
              <a:ext cx="792000" cy="792000"/>
            </a:xfrm>
            <a:prstGeom prst="rect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5A4BA88B-5898-4359-A155-6208069C80A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4103515" y="0"/>
              <a:ext cx="792000" cy="792000"/>
            </a:xfrm>
            <a:prstGeom prst="rect">
              <a:avLst/>
            </a:pr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EC97969-D9C5-49E2-8324-48C59FE01A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4895515" y="5544208"/>
              <a:ext cx="792000" cy="7920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F3213413-5655-4753-BA88-DE53E4A015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4103515" y="4752120"/>
              <a:ext cx="792000" cy="792000"/>
            </a:xfrm>
            <a:prstGeom prst="rect">
              <a:avLst/>
            </a:pr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71317DDF-DB19-4D9B-8A38-C41B9A262E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4103427" y="3960032"/>
              <a:ext cx="792000" cy="792000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F0F22BA2-2C35-4810-AFC2-3B704011800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504027" y="5844467"/>
            <a:ext cx="720080" cy="144000"/>
          </a:xfrm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3" name="Fußzeilenplatzhalter 3">
            <a:extLst>
              <a:ext uri="{FF2B5EF4-FFF2-40B4-BE49-F238E27FC236}">
                <a16:creationId xmlns:a16="http://schemas.microsoft.com/office/drawing/2014/main" id="{A40AFDD3-D2A2-4D8C-AC39-741788B1D82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299671" y="5844467"/>
            <a:ext cx="3132348" cy="144000"/>
          </a:xfrm>
          <a:ln>
            <a:solidFill>
              <a:schemeClr val="bg1"/>
            </a:solidFill>
          </a:ln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44" name="Foliennummernplatzhalter 4">
            <a:extLst>
              <a:ext uri="{FF2B5EF4-FFF2-40B4-BE49-F238E27FC236}">
                <a16:creationId xmlns:a16="http://schemas.microsoft.com/office/drawing/2014/main" id="{DE7FF7AC-6A17-4E74-9A44-836712EC245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96213" y="5831863"/>
            <a:ext cx="288033" cy="144305"/>
          </a:xfrm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2670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>
      <p:transition/>
    </mc:Fallback>
  </mc:AlternateContent>
  <p:extLst>
    <p:ext uri="{DCECCB84-F9BA-43D5-87BE-67443E8EF086}">
      <p15:sldGuideLst xmlns:p15="http://schemas.microsoft.com/office/powerpoint/2012/main">
        <p15:guide id="1" orient="horz" pos="1995">
          <p15:clr>
            <a:srgbClr val="FBAE40"/>
          </p15:clr>
        </p15:guide>
        <p15:guide id="2" pos="374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&amp;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B4286F-BF2A-4F08-A5BD-F91FDDBD2C8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1" name="Untertitel">
            <a:extLst>
              <a:ext uri="{FF2B5EF4-FFF2-40B4-BE49-F238E27FC236}">
                <a16:creationId xmlns:a16="http://schemas.microsoft.com/office/drawing/2014/main" id="{1146B57C-7836-4020-8D78-3BCC68B401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12" name="Inhaltsplatzhalter">
            <a:extLst>
              <a:ext uri="{FF2B5EF4-FFF2-40B4-BE49-F238E27FC236}">
                <a16:creationId xmlns:a16="http://schemas.microsoft.com/office/drawing/2014/main" id="{35845229-48FD-41C3-9F71-D03F4D0A525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95288" y="1584325"/>
            <a:ext cx="10693400" cy="4355847"/>
          </a:xfrm>
        </p:spPr>
        <p:txBody>
          <a:bodyPr/>
          <a:lstStyle>
            <a:lvl2pPr>
              <a:defRPr/>
            </a:lvl2pPr>
            <a:lvl5pPr marL="288000">
              <a:defRPr/>
            </a:lvl5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1576B0B-FBF6-4BBF-A4AF-6526F845C5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A4146B-CA55-4486-854F-B40EF80C60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9DC065D-5633-4B76-913C-5BF7CF9B42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74747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p15="http://schemas.microsoft.com/office/powerpoint/2012/main" xmlns:a16="http://schemas.microsoft.com/office/drawing/2014/main" xmlns:adec="http://schemas.microsoft.com/office/drawing/2017/decorative">
      <p:transition/>
    </mc:Fallback>
  </mc:AlternateContent>
  <p:extLst>
    <p:ext uri="{DCECCB84-F9BA-43D5-87BE-67443E8EF086}">
      <p15:sldGuideLst xmlns:p15="http://schemas.microsoft.com/office/powerpoint/2012/main">
        <p15:guide id="1" orient="horz" pos="1995">
          <p15:clr>
            <a:srgbClr val="FBAE40"/>
          </p15:clr>
        </p15:guide>
        <p15:guide id="2" pos="374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FBF358-E3F1-4692-BF85-B8FEB31DD1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BD8C5E4-34A3-40BD-B16B-9ACC2CE9C2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46D6DED-D297-4D05-B391-8FC2CC9A4F2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2" name="Inhaltsplatzhalter links">
            <a:extLst>
              <a:ext uri="{FF2B5EF4-FFF2-40B4-BE49-F238E27FC236}">
                <a16:creationId xmlns:a16="http://schemas.microsoft.com/office/drawing/2014/main" id="{35845229-48FD-41C3-9F71-D03F4D0A525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95288" y="1584326"/>
            <a:ext cx="5148000" cy="4355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Inhaltsplatzhalter rechts">
            <a:extLst>
              <a:ext uri="{FF2B5EF4-FFF2-40B4-BE49-F238E27FC236}">
                <a16:creationId xmlns:a16="http://schemas.microsoft.com/office/drawing/2014/main" id="{D96A174D-8DED-443F-94E9-8B0123E33CB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940424" y="1584326"/>
            <a:ext cx="5148263" cy="4355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3" name="Untertitel">
            <a:extLst>
              <a:ext uri="{FF2B5EF4-FFF2-40B4-BE49-F238E27FC236}">
                <a16:creationId xmlns:a16="http://schemas.microsoft.com/office/drawing/2014/main" id="{C20F49CD-D4B9-43C3-B360-D4F3BF9B2C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A1B9D41-E5A4-43F7-948C-E9041B5C3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869353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FBF358-E3F1-4692-BF85-B8FEB31DD1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BD8C5E4-34A3-40BD-B16B-9ACC2CE9C2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46D6DED-D297-4D05-B391-8FC2CC9A4F2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2" name="Textplatzhalter links">
            <a:extLst>
              <a:ext uri="{FF2B5EF4-FFF2-40B4-BE49-F238E27FC236}">
                <a16:creationId xmlns:a16="http://schemas.microsoft.com/office/drawing/2014/main" id="{35845229-48FD-41C3-9F71-D03F4D0A525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95287" y="1584326"/>
            <a:ext cx="3312000" cy="4355838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Textplatzhalter mitte">
            <a:extLst>
              <a:ext uri="{FF2B5EF4-FFF2-40B4-BE49-F238E27FC236}">
                <a16:creationId xmlns:a16="http://schemas.microsoft.com/office/drawing/2014/main" id="{D96A174D-8DED-443F-94E9-8B0123E33CB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103688" y="1584326"/>
            <a:ext cx="3276600" cy="4355838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4" name="Textplatzhalter rechts">
            <a:extLst>
              <a:ext uri="{FF2B5EF4-FFF2-40B4-BE49-F238E27FC236}">
                <a16:creationId xmlns:a16="http://schemas.microsoft.com/office/drawing/2014/main" id="{E67BC153-A6C9-4F31-B8F2-18AB7A15DB4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775574" y="1584326"/>
            <a:ext cx="3313113" cy="4355838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3" name="Untertitel">
            <a:extLst>
              <a:ext uri="{FF2B5EF4-FFF2-40B4-BE49-F238E27FC236}">
                <a16:creationId xmlns:a16="http://schemas.microsoft.com/office/drawing/2014/main" id="{FF85C3C5-5FC9-476C-8A1C-4ABBE5316B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981688F-37F6-4147-A3D4-928C487DF0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1081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FBF358-E3F1-4692-BF85-B8FEB31DD1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BD8C5E4-34A3-40BD-B16B-9ACC2CE9C2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46D6DED-D297-4D05-B391-8FC2CC9A4F2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2" name="Inhaltsplatzhalter links">
            <a:extLst>
              <a:ext uri="{FF2B5EF4-FFF2-40B4-BE49-F238E27FC236}">
                <a16:creationId xmlns:a16="http://schemas.microsoft.com/office/drawing/2014/main" id="{35845229-48FD-41C3-9F71-D03F4D0A525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95287" y="1584326"/>
            <a:ext cx="2376000" cy="4355838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Inhaltsplatzhalter Mitte links">
            <a:extLst>
              <a:ext uri="{FF2B5EF4-FFF2-40B4-BE49-F238E27FC236}">
                <a16:creationId xmlns:a16="http://schemas.microsoft.com/office/drawing/2014/main" id="{D96A174D-8DED-443F-94E9-8B0123E33CB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167587" y="1584326"/>
            <a:ext cx="2376000" cy="4355838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4" name="Inhaltsplatzhalter Mitte rechts">
            <a:extLst>
              <a:ext uri="{FF2B5EF4-FFF2-40B4-BE49-F238E27FC236}">
                <a16:creationId xmlns:a16="http://schemas.microsoft.com/office/drawing/2014/main" id="{E67BC153-A6C9-4F31-B8F2-18AB7A15DB4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939895" y="1584326"/>
            <a:ext cx="2376000" cy="4355838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Inhaltsplatzhalter rechts">
            <a:extLst>
              <a:ext uri="{FF2B5EF4-FFF2-40B4-BE49-F238E27FC236}">
                <a16:creationId xmlns:a16="http://schemas.microsoft.com/office/drawing/2014/main" id="{3DC3E59E-0D68-48AB-B18D-6BD52B2009E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712203" y="1584326"/>
            <a:ext cx="2376000" cy="4355838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3" name="Untertitel">
            <a:extLst>
              <a:ext uri="{FF2B5EF4-FFF2-40B4-BE49-F238E27FC236}">
                <a16:creationId xmlns:a16="http://schemas.microsoft.com/office/drawing/2014/main" id="{99FC8B3C-9FE2-4CBA-A56E-B142CBF0AB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0E2AF15-63BA-47FF-936A-2AB8A4D63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308473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FBF358-E3F1-4692-BF85-B8FEB31DD1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 rot="16200000">
            <a:off x="11088203" y="4752033"/>
            <a:ext cx="792000" cy="792000"/>
          </a:xfrm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BD8C5E4-34A3-40BD-B16B-9ACC2CE9C2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46D6DED-D297-4D05-B391-8FC2CC9A4F2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88203" y="5544120"/>
            <a:ext cx="792000" cy="792000"/>
          </a:xfrm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3" name="Titel">
            <a:extLst>
              <a:ext uri="{FF2B5EF4-FFF2-40B4-BE49-F238E27FC236}">
                <a16:creationId xmlns:a16="http://schemas.microsoft.com/office/drawing/2014/main" id="{79365300-3E4C-4BAF-852A-69E1F00837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9373" y="2502312"/>
            <a:ext cx="6600916" cy="3437852"/>
          </a:xfrm>
        </p:spPr>
        <p:txBody>
          <a:bodyPr anchor="t"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itat</a:t>
            </a:r>
          </a:p>
        </p:txBody>
      </p:sp>
      <p:sp>
        <p:nvSpPr>
          <p:cNvPr id="16" name="Autor">
            <a:extLst>
              <a:ext uri="{FF2B5EF4-FFF2-40B4-BE49-F238E27FC236}">
                <a16:creationId xmlns:a16="http://schemas.microsoft.com/office/drawing/2014/main" id="{0B74B02A-0DAC-4DB6-8A87-42D3A7EB47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9373" y="2123772"/>
            <a:ext cx="6600916" cy="288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Autor | Positio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E223B5F-FA18-4BCD-A6EC-23F6271B24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1087176" y="5543713"/>
            <a:ext cx="792000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17869A5-9419-49FE-8290-3469700C7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1087176" y="3959713"/>
            <a:ext cx="792000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83C59F4C-E945-4D0C-AB6B-7C0E0BE31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8710919" y="3959713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DD9A719-9C12-42F0-BD9A-576F4859D4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9503004" y="5543713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21EAA2B-2665-4702-8EDC-4D4DC64D1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9503004" y="3959713"/>
            <a:ext cx="792000" cy="792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C3F5361-5004-4F06-BB52-C68C260E6E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295089" y="4751713"/>
            <a:ext cx="792000" cy="792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FC6FBBB-487E-476C-87EF-262EC6AD4E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295089" y="3167713"/>
            <a:ext cx="792000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5506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&amp;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hteck 41">
            <a:extLst>
              <a:ext uri="{FF2B5EF4-FFF2-40B4-BE49-F238E27FC236}">
                <a16:creationId xmlns:a16="http://schemas.microsoft.com/office/drawing/2014/main" id="{7D0AD511-D859-4E68-B0A4-5342D84273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7380288" y="-1"/>
            <a:ext cx="4498976" cy="633571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FBF358-E3F1-4692-BF85-B8FEB31DD1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BD8C5E4-34A3-40BD-B16B-9ACC2CE9C2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46D6DED-D297-4D05-B391-8FC2CC9A4F2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2" name="Inhaltsplatzhalter links">
            <a:extLst>
              <a:ext uri="{FF2B5EF4-FFF2-40B4-BE49-F238E27FC236}">
                <a16:creationId xmlns:a16="http://schemas.microsoft.com/office/drawing/2014/main" id="{35845229-48FD-41C3-9F71-D03F4D0A525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95287" y="1584354"/>
            <a:ext cx="6588460" cy="4355354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Inhaltsplatzhalter rechts">
            <a:extLst>
              <a:ext uri="{FF2B5EF4-FFF2-40B4-BE49-F238E27FC236}">
                <a16:creationId xmlns:a16="http://schemas.microsoft.com/office/drawing/2014/main" id="{D96A174D-8DED-443F-94E9-8B0123E33CB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 bwMode="white">
          <a:xfrm>
            <a:off x="7775574" y="1584326"/>
            <a:ext cx="3313114" cy="4355838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083F5404-69E4-4868-8907-EBD3A779D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2119" y="288000"/>
            <a:ext cx="1152128" cy="214482"/>
          </a:xfrm>
          <a:prstGeom prst="rect">
            <a:avLst/>
          </a:prstGeom>
        </p:spPr>
      </p:pic>
      <p:sp>
        <p:nvSpPr>
          <p:cNvPr id="13" name="Untertitel">
            <a:extLst>
              <a:ext uri="{FF2B5EF4-FFF2-40B4-BE49-F238E27FC236}">
                <a16:creationId xmlns:a16="http://schemas.microsoft.com/office/drawing/2014/main" id="{2BCDB554-B5AF-40A6-BD5A-97A12CCE51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6624736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DAA8C7-8457-4C39-B594-FF18CC388E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011" y="249151"/>
            <a:ext cx="6624736" cy="648000"/>
          </a:xfrm>
        </p:spPr>
        <p:txBody>
          <a:bodyPr/>
          <a:lstStyle/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78063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&amp;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Hintergrund">
            <a:extLst>
              <a:ext uri="{FF2B5EF4-FFF2-40B4-BE49-F238E27FC236}">
                <a16:creationId xmlns:a16="http://schemas.microsoft.com/office/drawing/2014/main" id="{7D0AD511-D859-4E68-B0A4-5342D84273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7380288" y="-1"/>
            <a:ext cx="4498975" cy="633571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FBF358-E3F1-4692-BF85-B8FEB31DD1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BD8C5E4-34A3-40BD-B16B-9ACC2CE9C2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46D6DED-D297-4D05-B391-8FC2CC9A4F2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2" name="Inhaltsplatzhalter links">
            <a:extLst>
              <a:ext uri="{FF2B5EF4-FFF2-40B4-BE49-F238E27FC236}">
                <a16:creationId xmlns:a16="http://schemas.microsoft.com/office/drawing/2014/main" id="{35845229-48FD-41C3-9F71-D03F4D0A525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97499" y="1584303"/>
            <a:ext cx="3093787" cy="435612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1" name="Inhaltsplatzhalter Mitte">
            <a:extLst>
              <a:ext uri="{FF2B5EF4-FFF2-40B4-BE49-F238E27FC236}">
                <a16:creationId xmlns:a16="http://schemas.microsoft.com/office/drawing/2014/main" id="{0A9ACF00-7F40-41E8-BDA7-8E1AFFC06DF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887403" y="1584303"/>
            <a:ext cx="3096000" cy="4356122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Inhalt auf SW rechts">
            <a:extLst>
              <a:ext uri="{FF2B5EF4-FFF2-40B4-BE49-F238E27FC236}">
                <a16:creationId xmlns:a16="http://schemas.microsoft.com/office/drawing/2014/main" id="{D96A174D-8DED-443F-94E9-8B0123E33CB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 bwMode="white">
          <a:xfrm>
            <a:off x="7775574" y="1584326"/>
            <a:ext cx="3313113" cy="4355838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33A94E1F-0013-4839-AFE2-7F7DC7CBF9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2119" y="288000"/>
            <a:ext cx="1152128" cy="214482"/>
          </a:xfrm>
          <a:prstGeom prst="rect">
            <a:avLst/>
          </a:prstGeom>
        </p:spPr>
      </p:pic>
      <p:sp>
        <p:nvSpPr>
          <p:cNvPr id="13" name="Untertitel">
            <a:extLst>
              <a:ext uri="{FF2B5EF4-FFF2-40B4-BE49-F238E27FC236}">
                <a16:creationId xmlns:a16="http://schemas.microsoft.com/office/drawing/2014/main" id="{414EA8B7-67E4-4CCE-92F8-B1E97D40693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6624392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86CB1CE-BF05-47F0-A2BF-065020C6E7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011" y="248400"/>
            <a:ext cx="6624392" cy="648000"/>
          </a:xfrm>
        </p:spPr>
        <p:txBody>
          <a:bodyPr/>
          <a:lstStyle/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11275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rginalie &amp;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intergrund">
            <a:extLst>
              <a:ext uri="{FF2B5EF4-FFF2-40B4-BE49-F238E27FC236}">
                <a16:creationId xmlns:a16="http://schemas.microsoft.com/office/drawing/2014/main" id="{7C7C8DD0-98B5-44F7-86B3-A2BE00FF3E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-2" y="0"/>
            <a:ext cx="4103689" cy="633571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21" name="Datumsplatzhalter 320">
            <a:extLst>
              <a:ext uri="{FF2B5EF4-FFF2-40B4-BE49-F238E27FC236}">
                <a16:creationId xmlns:a16="http://schemas.microsoft.com/office/drawing/2014/main" id="{46595131-8E39-4766-B099-A318A8C14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22" name="Fußzeilenplatzhalter 321">
            <a:extLst>
              <a:ext uri="{FF2B5EF4-FFF2-40B4-BE49-F238E27FC236}">
                <a16:creationId xmlns:a16="http://schemas.microsoft.com/office/drawing/2014/main" id="{F580B053-B44E-4F9F-80F8-E3EDD807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323" name="Foliennummernplatzhalter 322">
            <a:extLst>
              <a:ext uri="{FF2B5EF4-FFF2-40B4-BE49-F238E27FC236}">
                <a16:creationId xmlns:a16="http://schemas.microsoft.com/office/drawing/2014/main" id="{F29CA1A6-62F8-46F6-9581-D08298CB9A9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2" name="Inhaltsplatzhalter mitte">
            <a:extLst>
              <a:ext uri="{FF2B5EF4-FFF2-40B4-BE49-F238E27FC236}">
                <a16:creationId xmlns:a16="http://schemas.microsoft.com/office/drawing/2014/main" id="{35845229-48FD-41C3-9F71-D03F4D0A525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99158" y="1584325"/>
            <a:ext cx="3096000" cy="4355388"/>
          </a:xfrm>
        </p:spPr>
        <p:txBody>
          <a:bodyPr numCol="1" spcCol="39600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79" name="Inhaltsplatzhalter rechts">
            <a:extLst>
              <a:ext uri="{FF2B5EF4-FFF2-40B4-BE49-F238E27FC236}">
                <a16:creationId xmlns:a16="http://schemas.microsoft.com/office/drawing/2014/main" id="{E548282D-172A-4400-B7F3-A7D1400914DD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7992203" y="1584325"/>
            <a:ext cx="3096000" cy="4355388"/>
          </a:xfrm>
        </p:spPr>
        <p:txBody>
          <a:bodyPr numCol="1" spcCol="39600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78" name="Inhalt auf SW links">
            <a:extLst>
              <a:ext uri="{FF2B5EF4-FFF2-40B4-BE49-F238E27FC236}">
                <a16:creationId xmlns:a16="http://schemas.microsoft.com/office/drawing/2014/main" id="{8E91B87F-4E4D-41E8-A069-1BCA1FB5010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white">
          <a:xfrm>
            <a:off x="395287" y="1585061"/>
            <a:ext cx="3311525" cy="4355104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buClrTx/>
              <a:defRPr sz="1600">
                <a:solidFill>
                  <a:schemeClr val="bg1"/>
                </a:solidFill>
              </a:defRPr>
            </a:lvl3pPr>
            <a:lvl4pPr>
              <a:buClrTx/>
              <a:defRPr sz="1600">
                <a:solidFill>
                  <a:schemeClr val="bg1"/>
                </a:solidFill>
              </a:defRPr>
            </a:lvl4pPr>
            <a:lvl5pPr>
              <a:buClrTx/>
              <a:defRPr sz="1600">
                <a:solidFill>
                  <a:schemeClr val="bg1"/>
                </a:solidFill>
              </a:defRPr>
            </a:lvl5pPr>
            <a:lvl6pPr>
              <a:buClrTx/>
              <a:defRPr sz="160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C842CA2-8539-4B74-842D-156F2F1E61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3467" y="248400"/>
            <a:ext cx="5436604" cy="648000"/>
          </a:xfrm>
        </p:spPr>
        <p:txBody>
          <a:bodyPr/>
          <a:lstStyle/>
          <a:p>
            <a:r>
              <a:rPr lang="de-DE" dirty="0"/>
              <a:t>Titel hinzufügen</a:t>
            </a:r>
          </a:p>
        </p:txBody>
      </p:sp>
      <p:sp>
        <p:nvSpPr>
          <p:cNvPr id="13" name="Untertitel">
            <a:extLst>
              <a:ext uri="{FF2B5EF4-FFF2-40B4-BE49-F238E27FC236}">
                <a16:creationId xmlns:a16="http://schemas.microsoft.com/office/drawing/2014/main" id="{6E9F20A1-F5FE-49F4-9803-8828FE10E6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63467" y="968400"/>
            <a:ext cx="5436604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588525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 | Fläch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intergrund">
            <a:extLst>
              <a:ext uri="{FF2B5EF4-FFF2-40B4-BE49-F238E27FC236}">
                <a16:creationId xmlns:a16="http://schemas.microsoft.com/office/drawing/2014/main" id="{7C7C8DD0-98B5-44F7-86B3-A2BE00FF3E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-2" y="0"/>
            <a:ext cx="4103689" cy="633571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21" name="Datumsplatzhalter 320">
            <a:extLst>
              <a:ext uri="{FF2B5EF4-FFF2-40B4-BE49-F238E27FC236}">
                <a16:creationId xmlns:a16="http://schemas.microsoft.com/office/drawing/2014/main" id="{46595131-8E39-4766-B099-A318A8C14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22" name="Fußzeilenplatzhalter 321">
            <a:extLst>
              <a:ext uri="{FF2B5EF4-FFF2-40B4-BE49-F238E27FC236}">
                <a16:creationId xmlns:a16="http://schemas.microsoft.com/office/drawing/2014/main" id="{F580B053-B44E-4F9F-80F8-E3EDD807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323" name="Foliennummernplatzhalter 322">
            <a:extLst>
              <a:ext uri="{FF2B5EF4-FFF2-40B4-BE49-F238E27FC236}">
                <a16:creationId xmlns:a16="http://schemas.microsoft.com/office/drawing/2014/main" id="{F29CA1A6-62F8-46F6-9581-D08298CB9A9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2" name="Inhaltsplatzhalter">
            <a:extLst>
              <a:ext uri="{FF2B5EF4-FFF2-40B4-BE49-F238E27FC236}">
                <a16:creationId xmlns:a16="http://schemas.microsoft.com/office/drawing/2014/main" id="{35845229-48FD-41C3-9F71-D03F4D0A525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99471" y="1584325"/>
            <a:ext cx="6589217" cy="4355388"/>
          </a:xfrm>
        </p:spPr>
        <p:txBody>
          <a:bodyPr numCol="1" spcCol="396000"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9" name="Titel 2">
            <a:extLst>
              <a:ext uri="{FF2B5EF4-FFF2-40B4-BE49-F238E27FC236}">
                <a16:creationId xmlns:a16="http://schemas.microsoft.com/office/drawing/2014/main" id="{8FD24391-D523-494C-B5CA-1608F69E42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3467" y="248400"/>
            <a:ext cx="5436604" cy="648000"/>
          </a:xfrm>
        </p:spPr>
        <p:txBody>
          <a:bodyPr/>
          <a:lstStyle/>
          <a:p>
            <a:r>
              <a:rPr lang="de-DE" dirty="0"/>
              <a:t>Titel hinzufügen</a:t>
            </a:r>
          </a:p>
        </p:txBody>
      </p:sp>
      <p:sp>
        <p:nvSpPr>
          <p:cNvPr id="10" name="Untertitel">
            <a:extLst>
              <a:ext uri="{FF2B5EF4-FFF2-40B4-BE49-F238E27FC236}">
                <a16:creationId xmlns:a16="http://schemas.microsoft.com/office/drawing/2014/main" id="{8074987B-FBD4-4F46-AF3E-80D2C8D84C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63467" y="968400"/>
            <a:ext cx="5436604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2" name="Inhalt auf SW links">
            <a:extLst>
              <a:ext uri="{FF2B5EF4-FFF2-40B4-BE49-F238E27FC236}">
                <a16:creationId xmlns:a16="http://schemas.microsoft.com/office/drawing/2014/main" id="{C6675892-15FE-3114-50CF-F342EECC86C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white">
          <a:xfrm>
            <a:off x="395287" y="1585061"/>
            <a:ext cx="3311525" cy="4355104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buClrTx/>
              <a:defRPr sz="1600">
                <a:solidFill>
                  <a:schemeClr val="bg1"/>
                </a:solidFill>
              </a:defRPr>
            </a:lvl3pPr>
            <a:lvl4pPr>
              <a:buClrTx/>
              <a:defRPr sz="1600">
                <a:solidFill>
                  <a:schemeClr val="bg1"/>
                </a:solidFill>
              </a:defRPr>
            </a:lvl4pPr>
            <a:lvl5pPr>
              <a:buClrTx/>
              <a:defRPr sz="1600">
                <a:solidFill>
                  <a:schemeClr val="bg1"/>
                </a:solidFill>
              </a:defRPr>
            </a:lvl5pPr>
            <a:lvl6pPr>
              <a:buClrTx/>
              <a:defRPr sz="160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255324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>
        <p15:guide id="1" orient="horz" pos="998">
          <p15:clr>
            <a:srgbClr val="FBAE40"/>
          </p15:clr>
        </p15:guide>
        <p15:guide id="2" orient="horz" pos="181">
          <p15:clr>
            <a:srgbClr val="FBAE40"/>
          </p15:clr>
        </p15:guide>
        <p15:guide id="3" orient="horz" pos="3742">
          <p15:clr>
            <a:srgbClr val="FBAE40"/>
          </p15:clr>
        </p15:guide>
        <p15:guide id="4" pos="2335">
          <p15:clr>
            <a:srgbClr val="FBAE40"/>
          </p15:clr>
        </p15:guide>
        <p15:guide id="5" pos="24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">
            <a:extLst>
              <a:ext uri="{FF2B5EF4-FFF2-40B4-BE49-F238E27FC236}">
                <a16:creationId xmlns:a16="http://schemas.microsoft.com/office/drawing/2014/main" id="{B99D3C98-D3C3-4D70-9705-A2A630FA6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95014" y="1007784"/>
            <a:ext cx="8712000" cy="1512000"/>
          </a:xfrm>
        </p:spPr>
        <p:txBody>
          <a:bodyPr anchor="b"/>
          <a:lstStyle>
            <a:lvl1pPr>
              <a:defRPr sz="3600" b="1" spc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darf auch zweizeilig sein</a:t>
            </a:r>
          </a:p>
        </p:txBody>
      </p:sp>
      <p:sp>
        <p:nvSpPr>
          <p:cNvPr id="15" name="Untertitel">
            <a:extLst>
              <a:ext uri="{FF2B5EF4-FFF2-40B4-BE49-F238E27FC236}">
                <a16:creationId xmlns:a16="http://schemas.microsoft.com/office/drawing/2014/main" id="{942FA83A-1852-4C32-85F8-FA1B9D8EEE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396727" y="2699908"/>
            <a:ext cx="8712000" cy="936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Untertitel der Präsentation</a:t>
            </a:r>
          </a:p>
          <a:p>
            <a:pPr lvl="0"/>
            <a:endParaRPr lang="de-DE" dirty="0"/>
          </a:p>
        </p:txBody>
      </p:sp>
      <p:sp>
        <p:nvSpPr>
          <p:cNvPr id="17" name="Zusatzinfos">
            <a:extLst>
              <a:ext uri="{FF2B5EF4-FFF2-40B4-BE49-F238E27FC236}">
                <a16:creationId xmlns:a16="http://schemas.microsoft.com/office/drawing/2014/main" id="{3B848A8E-C4AA-4776-8067-C3F67558CA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395014" y="5443200"/>
            <a:ext cx="8063615" cy="540000"/>
          </a:xfrm>
        </p:spPr>
        <p:txBody>
          <a:bodyPr anchor="b" anchorCtr="0"/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Autor Nachname</a:t>
            </a:r>
          </a:p>
          <a:p>
            <a:pPr lvl="0"/>
            <a:r>
              <a:rPr lang="de-DE" dirty="0"/>
              <a:t>TT.MM.JJJJ | Ort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0659E54C-E76E-4D7D-D519-6BB82EE4B3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7203" y="395548"/>
            <a:ext cx="1547044" cy="288000"/>
          </a:xfrm>
          <a:prstGeom prst="rect">
            <a:avLst/>
          </a:prstGeom>
        </p:spPr>
      </p:pic>
      <p:sp>
        <p:nvSpPr>
          <p:cNvPr id="13" name="Schmuckkasten">
            <a:extLst>
              <a:ext uri="{FF2B5EF4-FFF2-40B4-BE49-F238E27FC236}">
                <a16:creationId xmlns:a16="http://schemas.microsoft.com/office/drawing/2014/main" id="{E2A61B93-BC15-1DE8-8532-57051018E1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1088291" y="5544208"/>
            <a:ext cx="792000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Schmuckkasten">
            <a:extLst>
              <a:ext uri="{FF2B5EF4-FFF2-40B4-BE49-F238E27FC236}">
                <a16:creationId xmlns:a16="http://schemas.microsoft.com/office/drawing/2014/main" id="{C676D155-4CB9-2D26-C206-1E02A3966B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1088291" y="3960032"/>
            <a:ext cx="792000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Schmuckkasten">
            <a:extLst>
              <a:ext uri="{FF2B5EF4-FFF2-40B4-BE49-F238E27FC236}">
                <a16:creationId xmlns:a16="http://schemas.microsoft.com/office/drawing/2014/main" id="{451DD5AE-C03F-DB5A-95D3-CFD9682CBC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9504115" y="3960032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Schmuckkasten">
            <a:extLst>
              <a:ext uri="{FF2B5EF4-FFF2-40B4-BE49-F238E27FC236}">
                <a16:creationId xmlns:a16="http://schemas.microsoft.com/office/drawing/2014/main" id="{C3555B84-F618-D8D6-194C-3805501D96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296203" y="5544208"/>
            <a:ext cx="792000" cy="792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Schmuckkasten">
            <a:extLst>
              <a:ext uri="{FF2B5EF4-FFF2-40B4-BE49-F238E27FC236}">
                <a16:creationId xmlns:a16="http://schemas.microsoft.com/office/drawing/2014/main" id="{3043E8E7-7D0D-F69F-8C97-603379B570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296203" y="4752120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7626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p15="http://schemas.microsoft.com/office/powerpoint/2012/main" xmlns:a16="http://schemas.microsoft.com/office/drawing/2014/main" xmlns:adec="http://schemas.microsoft.com/office/drawing/2017/decorative" xmlns:a14="http://schemas.microsoft.com/office/drawing/2010/main" xmlns:asvg="http://schemas.microsoft.com/office/drawing/2016/SVG/main">
      <p:transition/>
    </mc:Fallback>
  </mc:AlternateContent>
  <p:extLst>
    <p:ext uri="{DCECCB84-F9BA-43D5-87BE-67443E8EF086}">
      <p15:sldGuideLst xmlns:p15="http://schemas.microsoft.com/office/powerpoint/2012/main">
        <p15:guide id="1" orient="horz" pos="1995">
          <p15:clr>
            <a:srgbClr val="FBAE40"/>
          </p15:clr>
        </p15:guide>
        <p15:guide id="2" pos="374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| Fläch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intergrund">
            <a:extLst>
              <a:ext uri="{FF2B5EF4-FFF2-40B4-BE49-F238E27FC236}">
                <a16:creationId xmlns:a16="http://schemas.microsoft.com/office/drawing/2014/main" id="{7C7C8DD0-98B5-44F7-86B3-A2BE00FF3E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-2" y="0"/>
            <a:ext cx="4103689" cy="633571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21" name="Datumsplatzhalter 320">
            <a:extLst>
              <a:ext uri="{FF2B5EF4-FFF2-40B4-BE49-F238E27FC236}">
                <a16:creationId xmlns:a16="http://schemas.microsoft.com/office/drawing/2014/main" id="{46595131-8E39-4766-B099-A318A8C14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22" name="Fußzeilenplatzhalter 321">
            <a:extLst>
              <a:ext uri="{FF2B5EF4-FFF2-40B4-BE49-F238E27FC236}">
                <a16:creationId xmlns:a16="http://schemas.microsoft.com/office/drawing/2014/main" id="{F580B053-B44E-4F9F-80F8-E3EDD807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323" name="Foliennummernplatzhalter 322">
            <a:extLst>
              <a:ext uri="{FF2B5EF4-FFF2-40B4-BE49-F238E27FC236}">
                <a16:creationId xmlns:a16="http://schemas.microsoft.com/office/drawing/2014/main" id="{F29CA1A6-62F8-46F6-9581-D08298CB9A9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2" name="Inhaltsplatzhalter">
            <a:extLst>
              <a:ext uri="{FF2B5EF4-FFF2-40B4-BE49-F238E27FC236}">
                <a16:creationId xmlns:a16="http://schemas.microsoft.com/office/drawing/2014/main" id="{35845229-48FD-41C3-9F71-D03F4D0A525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99471" y="1584325"/>
            <a:ext cx="6589217" cy="4355388"/>
          </a:xfrm>
        </p:spPr>
        <p:txBody>
          <a:bodyPr numCol="1" spcCol="396000"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9" name="Titel 2">
            <a:extLst>
              <a:ext uri="{FF2B5EF4-FFF2-40B4-BE49-F238E27FC236}">
                <a16:creationId xmlns:a16="http://schemas.microsoft.com/office/drawing/2014/main" id="{8FD24391-D523-494C-B5CA-1608F69E42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3467" y="248400"/>
            <a:ext cx="5436604" cy="648000"/>
          </a:xfrm>
        </p:spPr>
        <p:txBody>
          <a:bodyPr/>
          <a:lstStyle/>
          <a:p>
            <a:r>
              <a:rPr lang="de-DE" dirty="0"/>
              <a:t>Titel hinzufügen</a:t>
            </a:r>
          </a:p>
        </p:txBody>
      </p:sp>
      <p:sp>
        <p:nvSpPr>
          <p:cNvPr id="10" name="Untertitel">
            <a:extLst>
              <a:ext uri="{FF2B5EF4-FFF2-40B4-BE49-F238E27FC236}">
                <a16:creationId xmlns:a16="http://schemas.microsoft.com/office/drawing/2014/main" id="{8074987B-FBD4-4F46-AF3E-80D2C8D84C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63467" y="968400"/>
            <a:ext cx="5436604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99093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>
        <p15:guide id="1" orient="horz" pos="998">
          <p15:clr>
            <a:srgbClr val="FBAE40"/>
          </p15:clr>
        </p15:guide>
        <p15:guide id="2" orient="horz" pos="181">
          <p15:clr>
            <a:srgbClr val="FBAE40"/>
          </p15:clr>
        </p15:guide>
        <p15:guide id="3" orient="horz" pos="3742">
          <p15:clr>
            <a:srgbClr val="FBAE40"/>
          </p15:clr>
        </p15:guide>
        <p15:guide id="4" pos="2335">
          <p15:clr>
            <a:srgbClr val="FBAE40"/>
          </p15:clr>
        </p15:guide>
        <p15:guide id="5" pos="24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&amp;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intergrund">
            <a:extLst>
              <a:ext uri="{FF2B5EF4-FFF2-40B4-BE49-F238E27FC236}">
                <a16:creationId xmlns:a16="http://schemas.microsoft.com/office/drawing/2014/main" id="{73C468E9-9C59-41E3-84F0-93A97900A0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7380288" y="0"/>
            <a:ext cx="4498975" cy="633571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21" name="Datumsplatzhalter 320">
            <a:extLst>
              <a:ext uri="{FF2B5EF4-FFF2-40B4-BE49-F238E27FC236}">
                <a16:creationId xmlns:a16="http://schemas.microsoft.com/office/drawing/2014/main" id="{46595131-8E39-4766-B099-A318A8C14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22" name="Fußzeilenplatzhalter 321">
            <a:extLst>
              <a:ext uri="{FF2B5EF4-FFF2-40B4-BE49-F238E27FC236}">
                <a16:creationId xmlns:a16="http://schemas.microsoft.com/office/drawing/2014/main" id="{F580B053-B44E-4F9F-80F8-E3EDD807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323" name="Foliennummernplatzhalter 322">
            <a:extLst>
              <a:ext uri="{FF2B5EF4-FFF2-40B4-BE49-F238E27FC236}">
                <a16:creationId xmlns:a16="http://schemas.microsoft.com/office/drawing/2014/main" id="{F29CA1A6-62F8-46F6-9581-D08298CB9A9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5" name="Bild links">
            <a:extLst>
              <a:ext uri="{FF2B5EF4-FFF2-40B4-BE49-F238E27FC236}">
                <a16:creationId xmlns:a16="http://schemas.microsoft.com/office/drawing/2014/main" id="{0285B130-7783-40B1-AEAF-CCE380CE46B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95015" y="1584282"/>
            <a:ext cx="6589229" cy="4356143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2" name="Inhalt auf SW rechts">
            <a:extLst>
              <a:ext uri="{FF2B5EF4-FFF2-40B4-BE49-F238E27FC236}">
                <a16:creationId xmlns:a16="http://schemas.microsoft.com/office/drawing/2014/main" id="{35845229-48FD-41C3-9F71-D03F4D0A525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white">
          <a:xfrm>
            <a:off x="7775091" y="1584325"/>
            <a:ext cx="3313112" cy="4355388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buClrTx/>
              <a:defRPr sz="1600">
                <a:solidFill>
                  <a:schemeClr val="bg1"/>
                </a:solidFill>
              </a:defRPr>
            </a:lvl3pPr>
            <a:lvl4pPr>
              <a:buClrTx/>
              <a:defRPr sz="1600">
                <a:solidFill>
                  <a:schemeClr val="bg1"/>
                </a:solidFill>
              </a:defRPr>
            </a:lvl4pPr>
            <a:lvl5pPr>
              <a:buClrTx/>
              <a:defRPr sz="1600">
                <a:solidFill>
                  <a:schemeClr val="bg1"/>
                </a:solidFill>
              </a:defRPr>
            </a:lvl5pPr>
            <a:lvl6pPr>
              <a:buClrTx/>
              <a:defRPr sz="160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A3D695C3-3D47-45D5-AD74-B616BB79AC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2119" y="288000"/>
            <a:ext cx="1152128" cy="214482"/>
          </a:xfrm>
          <a:prstGeom prst="rect">
            <a:avLst/>
          </a:prstGeom>
        </p:spPr>
      </p:pic>
      <p:sp>
        <p:nvSpPr>
          <p:cNvPr id="11" name="Untertitel">
            <a:extLst>
              <a:ext uri="{FF2B5EF4-FFF2-40B4-BE49-F238E27FC236}">
                <a16:creationId xmlns:a16="http://schemas.microsoft.com/office/drawing/2014/main" id="{EB78B82F-66DD-4895-A30F-1178DFCD09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6624392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517D488-76D1-4970-B077-86BC1D1C9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011" y="248400"/>
            <a:ext cx="6625233" cy="648000"/>
          </a:xfrm>
        </p:spPr>
        <p:txBody>
          <a:bodyPr/>
          <a:lstStyle/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08090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&amp;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Foliennummernplatzhalter 322">
            <a:extLst>
              <a:ext uri="{FF2B5EF4-FFF2-40B4-BE49-F238E27FC236}">
                <a16:creationId xmlns:a16="http://schemas.microsoft.com/office/drawing/2014/main" id="{F29CA1A6-62F8-46F6-9581-D08298CB9A9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DF086196-7560-4436-A8AB-FD1A622F99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7423" y="248400"/>
            <a:ext cx="5724000" cy="648000"/>
          </a:xfrm>
        </p:spPr>
        <p:txBody>
          <a:bodyPr/>
          <a:lstStyle/>
          <a:p>
            <a:r>
              <a:rPr lang="de-DE" dirty="0"/>
              <a:t>Titel hinzufügen</a:t>
            </a:r>
          </a:p>
        </p:txBody>
      </p:sp>
      <p:sp>
        <p:nvSpPr>
          <p:cNvPr id="16" name="Untertitel">
            <a:extLst>
              <a:ext uri="{FF2B5EF4-FFF2-40B4-BE49-F238E27FC236}">
                <a16:creationId xmlns:a16="http://schemas.microsoft.com/office/drawing/2014/main" id="{0B74B02A-0DAC-4DB6-8A87-42D3A7EB47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7424" y="968400"/>
            <a:ext cx="5724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/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15" name="Bild links">
            <a:extLst>
              <a:ext uri="{FF2B5EF4-FFF2-40B4-BE49-F238E27FC236}">
                <a16:creationId xmlns:a16="http://schemas.microsoft.com/office/drawing/2014/main" id="{0285B130-7783-40B1-AEAF-CCE380CE46B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3706813" cy="6335713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2" name="Inhaltsplatzhalter rechts">
            <a:extLst>
              <a:ext uri="{FF2B5EF4-FFF2-40B4-BE49-F238E27FC236}">
                <a16:creationId xmlns:a16="http://schemas.microsoft.com/office/drawing/2014/main" id="{35845229-48FD-41C3-9F71-D03F4D0A525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103204" y="1584325"/>
            <a:ext cx="6984999" cy="4355388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21" name="Datumsplatzhalter 320">
            <a:extLst>
              <a:ext uri="{FF2B5EF4-FFF2-40B4-BE49-F238E27FC236}">
                <a16:creationId xmlns:a16="http://schemas.microsoft.com/office/drawing/2014/main" id="{46595131-8E39-4766-B099-A318A8C14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22" name="Fußzeilenplatzhalter 321">
            <a:extLst>
              <a:ext uri="{FF2B5EF4-FFF2-40B4-BE49-F238E27FC236}">
                <a16:creationId xmlns:a16="http://schemas.microsoft.com/office/drawing/2014/main" id="{F580B053-B44E-4F9F-80F8-E3EDD807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2339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&amp; Bild |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Datumsplatzhalter 320">
            <a:extLst>
              <a:ext uri="{FF2B5EF4-FFF2-40B4-BE49-F238E27FC236}">
                <a16:creationId xmlns:a16="http://schemas.microsoft.com/office/drawing/2014/main" id="{46595131-8E39-4766-B099-A318A8C14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22" name="Fußzeilenplatzhalter 321">
            <a:extLst>
              <a:ext uri="{FF2B5EF4-FFF2-40B4-BE49-F238E27FC236}">
                <a16:creationId xmlns:a16="http://schemas.microsoft.com/office/drawing/2014/main" id="{F580B053-B44E-4F9F-80F8-E3EDD807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323" name="Foliennummernplatzhalter 322">
            <a:extLst>
              <a:ext uri="{FF2B5EF4-FFF2-40B4-BE49-F238E27FC236}">
                <a16:creationId xmlns:a16="http://schemas.microsoft.com/office/drawing/2014/main" id="{F29CA1A6-62F8-46F6-9581-D08298CB9A9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2" name="Inhaltsplatzhalter links">
            <a:extLst>
              <a:ext uri="{FF2B5EF4-FFF2-40B4-BE49-F238E27FC236}">
                <a16:creationId xmlns:a16="http://schemas.microsoft.com/office/drawing/2014/main" id="{35845229-48FD-41C3-9F71-D03F4D0A525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95015" y="1584368"/>
            <a:ext cx="3311798" cy="4355345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Bildplatzhalter rechts">
            <a:extLst>
              <a:ext uri="{FF2B5EF4-FFF2-40B4-BE49-F238E27FC236}">
                <a16:creationId xmlns:a16="http://schemas.microsoft.com/office/drawing/2014/main" id="{0285B130-7783-40B1-AEAF-CCE380CE46B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103687" y="1584325"/>
            <a:ext cx="6984515" cy="43561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BD4C069-7BA5-46C5-9E04-932A7563F7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  <p:sp>
        <p:nvSpPr>
          <p:cNvPr id="11" name="Untertitel">
            <a:extLst>
              <a:ext uri="{FF2B5EF4-FFF2-40B4-BE49-F238E27FC236}">
                <a16:creationId xmlns:a16="http://schemas.microsoft.com/office/drawing/2014/main" id="{2D6E740F-EDB3-4E64-88B3-225E60F612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665315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&amp; Bild |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Datumsplatzhalter 320">
            <a:extLst>
              <a:ext uri="{FF2B5EF4-FFF2-40B4-BE49-F238E27FC236}">
                <a16:creationId xmlns:a16="http://schemas.microsoft.com/office/drawing/2014/main" id="{46595131-8E39-4766-B099-A318A8C14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22" name="Fußzeilenplatzhalter 321">
            <a:extLst>
              <a:ext uri="{FF2B5EF4-FFF2-40B4-BE49-F238E27FC236}">
                <a16:creationId xmlns:a16="http://schemas.microsoft.com/office/drawing/2014/main" id="{F580B053-B44E-4F9F-80F8-E3EDD807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323" name="Foliennummernplatzhalter 322">
            <a:extLst>
              <a:ext uri="{FF2B5EF4-FFF2-40B4-BE49-F238E27FC236}">
                <a16:creationId xmlns:a16="http://schemas.microsoft.com/office/drawing/2014/main" id="{F29CA1A6-62F8-46F6-9581-D08298CB9A9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5" name="Bildplatzhalter links">
            <a:extLst>
              <a:ext uri="{FF2B5EF4-FFF2-40B4-BE49-F238E27FC236}">
                <a16:creationId xmlns:a16="http://schemas.microsoft.com/office/drawing/2014/main" id="{0285B130-7783-40B1-AEAF-CCE380CE46B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97498" y="1585037"/>
            <a:ext cx="6982789" cy="4355388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2" name="Inhaltsplatzhalter rechts">
            <a:extLst>
              <a:ext uri="{FF2B5EF4-FFF2-40B4-BE49-F238E27FC236}">
                <a16:creationId xmlns:a16="http://schemas.microsoft.com/office/drawing/2014/main" id="{35845229-48FD-41C3-9F71-D03F4D0A525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775091" y="1584325"/>
            <a:ext cx="3313112" cy="4355388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FB3900-51EA-4712-BBCD-AD968BCA22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  <p:sp>
        <p:nvSpPr>
          <p:cNvPr id="10" name="Untertitel">
            <a:extLst>
              <a:ext uri="{FF2B5EF4-FFF2-40B4-BE49-F238E27FC236}">
                <a16:creationId xmlns:a16="http://schemas.microsoft.com/office/drawing/2014/main" id="{7EA6A589-7FB3-48E4-A3E5-001526A40C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</p:spTree>
    <p:extLst>
      <p:ext uri="{BB962C8B-B14F-4D97-AF65-F5344CB8AC3E}">
        <p14:creationId xmlns:p14="http://schemas.microsoft.com/office/powerpoint/2010/main" val="2953450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Datumsplatzhalter 320">
            <a:extLst>
              <a:ext uri="{FF2B5EF4-FFF2-40B4-BE49-F238E27FC236}">
                <a16:creationId xmlns:a16="http://schemas.microsoft.com/office/drawing/2014/main" id="{46595131-8E39-4766-B099-A318A8C14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22" name="Fußzeilenplatzhalter 321">
            <a:extLst>
              <a:ext uri="{FF2B5EF4-FFF2-40B4-BE49-F238E27FC236}">
                <a16:creationId xmlns:a16="http://schemas.microsoft.com/office/drawing/2014/main" id="{F580B053-B44E-4F9F-80F8-E3EDD807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323" name="Foliennummernplatzhalter 322">
            <a:extLst>
              <a:ext uri="{FF2B5EF4-FFF2-40B4-BE49-F238E27FC236}">
                <a16:creationId xmlns:a16="http://schemas.microsoft.com/office/drawing/2014/main" id="{F29CA1A6-62F8-46F6-9581-D08298CB9A9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1" name="Inhaltsplatzhalter links">
            <a:extLst>
              <a:ext uri="{FF2B5EF4-FFF2-40B4-BE49-F238E27FC236}">
                <a16:creationId xmlns:a16="http://schemas.microsoft.com/office/drawing/2014/main" id="{1D6F5E96-D36C-4B18-8821-B8187A78CF5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95287" y="1584326"/>
            <a:ext cx="3311526" cy="4355838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3" name="Inhaltsplatzhalter Mitte">
            <a:extLst>
              <a:ext uri="{FF2B5EF4-FFF2-40B4-BE49-F238E27FC236}">
                <a16:creationId xmlns:a16="http://schemas.microsoft.com/office/drawing/2014/main" id="{E669D128-A599-4F4F-A3AB-DF6B2981CAB1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103688" y="1584326"/>
            <a:ext cx="3276600" cy="4355838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Bildplatzhalter rechts">
            <a:extLst>
              <a:ext uri="{FF2B5EF4-FFF2-40B4-BE49-F238E27FC236}">
                <a16:creationId xmlns:a16="http://schemas.microsoft.com/office/drawing/2014/main" id="{0285B130-7783-40B1-AEAF-CCE380CE46B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775091" y="791550"/>
            <a:ext cx="3313112" cy="5148876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2" name="Untertitel">
            <a:extLst>
              <a:ext uri="{FF2B5EF4-FFF2-40B4-BE49-F238E27FC236}">
                <a16:creationId xmlns:a16="http://schemas.microsoft.com/office/drawing/2014/main" id="{26332742-728A-4184-BE48-5354A05FDB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7021277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498E9A6-91D2-45CB-B74B-8F7EAA63D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011" y="249151"/>
            <a:ext cx="7021277" cy="648000"/>
          </a:xfrm>
        </p:spPr>
        <p:txBody>
          <a:bodyPr/>
          <a:lstStyle/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8185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9FB20A-4CA1-4046-A1E4-A4673B572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C5D59-98EF-47B2-B19D-A874DC59FF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68242E-50F9-4244-B4BA-556C25D9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7" name="Bildplatzhalter">
            <a:extLst>
              <a:ext uri="{FF2B5EF4-FFF2-40B4-BE49-F238E27FC236}">
                <a16:creationId xmlns:a16="http://schemas.microsoft.com/office/drawing/2014/main" id="{4927079D-CA0B-44BB-90D1-01BBB6FF51A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95016" y="1584325"/>
            <a:ext cx="10693672" cy="43561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9" name="Untertitel">
            <a:extLst>
              <a:ext uri="{FF2B5EF4-FFF2-40B4-BE49-F238E27FC236}">
                <a16:creationId xmlns:a16="http://schemas.microsoft.com/office/drawing/2014/main" id="{BC60562C-F00F-4443-B593-6A6C9BCABF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870A7D9-066C-43AF-AF2A-341246730A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83914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9FB20A-4CA1-4046-A1E4-A4673B572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C5D59-98EF-47B2-B19D-A874DC59FF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68242E-50F9-4244-B4BA-556C25D9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7" name="Bild links">
            <a:extLst>
              <a:ext uri="{FF2B5EF4-FFF2-40B4-BE49-F238E27FC236}">
                <a16:creationId xmlns:a16="http://schemas.microsoft.com/office/drawing/2014/main" id="{4927079D-CA0B-44BB-90D1-01BBB6FF51A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95015" y="1583680"/>
            <a:ext cx="5148535" cy="43561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9" name="Bild rechts">
            <a:extLst>
              <a:ext uri="{FF2B5EF4-FFF2-40B4-BE49-F238E27FC236}">
                <a16:creationId xmlns:a16="http://schemas.microsoft.com/office/drawing/2014/main" id="{5EF16FE8-58E3-493E-A214-DF6EF7EA0B1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939941" y="1583680"/>
            <a:ext cx="5148262" cy="43561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0" name="Untertitel">
            <a:extLst>
              <a:ext uri="{FF2B5EF4-FFF2-40B4-BE49-F238E27FC236}">
                <a16:creationId xmlns:a16="http://schemas.microsoft.com/office/drawing/2014/main" id="{951550DF-2F3C-407B-AE05-7089DD1837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122D6CD-C727-4DFF-A862-C3982281E8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488891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9FB20A-4CA1-4046-A1E4-A4673B572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C5D59-98EF-47B2-B19D-A874DC59FF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68242E-50F9-4244-B4BA-556C25D9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7" name="Bildplatzhalter links">
            <a:extLst>
              <a:ext uri="{FF2B5EF4-FFF2-40B4-BE49-F238E27FC236}">
                <a16:creationId xmlns:a16="http://schemas.microsoft.com/office/drawing/2014/main" id="{4927079D-CA0B-44BB-90D1-01BBB6FF51A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95016" y="1583680"/>
            <a:ext cx="3311798" cy="43561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9" name="Bildplatzhalter mitte">
            <a:extLst>
              <a:ext uri="{FF2B5EF4-FFF2-40B4-BE49-F238E27FC236}">
                <a16:creationId xmlns:a16="http://schemas.microsoft.com/office/drawing/2014/main" id="{5EF16FE8-58E3-493E-A214-DF6EF7EA0B1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103689" y="1583680"/>
            <a:ext cx="3276599" cy="43561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0" name="Bildplatzhalter rechts">
            <a:extLst>
              <a:ext uri="{FF2B5EF4-FFF2-40B4-BE49-F238E27FC236}">
                <a16:creationId xmlns:a16="http://schemas.microsoft.com/office/drawing/2014/main" id="{F191D73B-74A6-4584-A706-8036374504E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775835" y="1583680"/>
            <a:ext cx="3312853" cy="43561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1" name="Untertitel">
            <a:extLst>
              <a:ext uri="{FF2B5EF4-FFF2-40B4-BE49-F238E27FC236}">
                <a16:creationId xmlns:a16="http://schemas.microsoft.com/office/drawing/2014/main" id="{FAA01853-85B7-41E4-9477-A1C69D9A707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070820F-980C-4D3B-B0F8-BA988A5DBA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015758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9FB20A-4CA1-4046-A1E4-A4673B572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C5D59-98EF-47B2-B19D-A874DC59FF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68242E-50F9-4244-B4BA-556C25D9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7" name="Bildplatzhalter links">
            <a:extLst>
              <a:ext uri="{FF2B5EF4-FFF2-40B4-BE49-F238E27FC236}">
                <a16:creationId xmlns:a16="http://schemas.microsoft.com/office/drawing/2014/main" id="{4927079D-CA0B-44BB-90D1-01BBB6FF51A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95016" y="1583680"/>
            <a:ext cx="2376000" cy="43561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9" name="Bildplatzhalter Mitte links">
            <a:extLst>
              <a:ext uri="{FF2B5EF4-FFF2-40B4-BE49-F238E27FC236}">
                <a16:creationId xmlns:a16="http://schemas.microsoft.com/office/drawing/2014/main" id="{5EF16FE8-58E3-493E-A214-DF6EF7EA0B1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167412" y="1583680"/>
            <a:ext cx="2376000" cy="43561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0" name="Bildplatzhalter Mitte rechts">
            <a:extLst>
              <a:ext uri="{FF2B5EF4-FFF2-40B4-BE49-F238E27FC236}">
                <a16:creationId xmlns:a16="http://schemas.microsoft.com/office/drawing/2014/main" id="{F191D73B-74A6-4584-A706-8036374504E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939808" y="1583680"/>
            <a:ext cx="2376000" cy="43561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1" name="Bildplatzhalter rechts">
            <a:extLst>
              <a:ext uri="{FF2B5EF4-FFF2-40B4-BE49-F238E27FC236}">
                <a16:creationId xmlns:a16="http://schemas.microsoft.com/office/drawing/2014/main" id="{5AD396FC-940C-4A65-A592-132B514DC3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712203" y="1583680"/>
            <a:ext cx="2376000" cy="43561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2" name="Untertitel">
            <a:extLst>
              <a:ext uri="{FF2B5EF4-FFF2-40B4-BE49-F238E27FC236}">
                <a16:creationId xmlns:a16="http://schemas.microsoft.com/office/drawing/2014/main" id="{233B71F1-C453-4B3F-8982-32D1EE058D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7612FA-8A3B-4AEC-B41E-0F688042CE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90232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|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intergrund">
            <a:extLst>
              <a:ext uri="{FF2B5EF4-FFF2-40B4-BE49-F238E27FC236}">
                <a16:creationId xmlns:a16="http://schemas.microsoft.com/office/drawing/2014/main" id="{761A5CD0-B5CB-4D87-837D-06064B06A225}"/>
              </a:ext>
            </a:extLst>
          </p:cNvPr>
          <p:cNvSpPr/>
          <p:nvPr/>
        </p:nvSpPr>
        <p:spPr bwMode="ltGray">
          <a:xfrm>
            <a:off x="0" y="0"/>
            <a:ext cx="11879261" cy="633571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97E7CCBC-5A51-4922-8971-A7F2D504FE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7203" y="395548"/>
            <a:ext cx="1547044" cy="288000"/>
          </a:xfrm>
          <a:prstGeom prst="rect">
            <a:avLst/>
          </a:prstGeom>
        </p:spPr>
      </p:pic>
      <p:sp>
        <p:nvSpPr>
          <p:cNvPr id="7" name="Titel">
            <a:extLst>
              <a:ext uri="{FF2B5EF4-FFF2-40B4-BE49-F238E27FC236}">
                <a16:creationId xmlns:a16="http://schemas.microsoft.com/office/drawing/2014/main" id="{B99D3C98-D3C3-4D70-9705-A2A630FA6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95014" y="1007784"/>
            <a:ext cx="8712000" cy="1512000"/>
          </a:xfrm>
        </p:spPr>
        <p:txBody>
          <a:bodyPr anchor="b"/>
          <a:lstStyle>
            <a:lvl1pPr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darf auch zweizeilig sein</a:t>
            </a:r>
          </a:p>
        </p:txBody>
      </p:sp>
      <p:sp>
        <p:nvSpPr>
          <p:cNvPr id="15" name="Untertitel">
            <a:extLst>
              <a:ext uri="{FF2B5EF4-FFF2-40B4-BE49-F238E27FC236}">
                <a16:creationId xmlns:a16="http://schemas.microsoft.com/office/drawing/2014/main" id="{942FA83A-1852-4C32-85F8-FA1B9D8EEE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396727" y="2699908"/>
            <a:ext cx="8712000" cy="936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der Präsentation</a:t>
            </a:r>
          </a:p>
        </p:txBody>
      </p:sp>
      <p:sp>
        <p:nvSpPr>
          <p:cNvPr id="17" name="Zusatzinfos">
            <a:extLst>
              <a:ext uri="{FF2B5EF4-FFF2-40B4-BE49-F238E27FC236}">
                <a16:creationId xmlns:a16="http://schemas.microsoft.com/office/drawing/2014/main" id="{3B848A8E-C4AA-4776-8067-C3F67558CA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395014" y="5443200"/>
            <a:ext cx="8063615" cy="540000"/>
          </a:xfrm>
        </p:spPr>
        <p:txBody>
          <a:bodyPr anchor="b" anchorCtr="0"/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buNone/>
              <a:defRPr sz="1400" b="0">
                <a:solidFill>
                  <a:schemeClr val="bg1"/>
                </a:solidFill>
              </a:defRPr>
            </a:lvl4pPr>
            <a:lvl5pPr marL="0" indent="0">
              <a:buNone/>
              <a:defRPr sz="1400" b="0">
                <a:solidFill>
                  <a:schemeClr val="bg1"/>
                </a:solidFill>
              </a:defRPr>
            </a:lvl5pPr>
            <a:lvl6pPr marL="0" indent="0">
              <a:buNone/>
              <a:defRPr sz="1400" b="0">
                <a:solidFill>
                  <a:schemeClr val="bg1"/>
                </a:solidFill>
              </a:defRPr>
            </a:lvl6pPr>
            <a:lvl7pPr marL="0" indent="0">
              <a:buNone/>
              <a:defRPr sz="1400" b="0">
                <a:solidFill>
                  <a:schemeClr val="bg1"/>
                </a:solidFill>
              </a:defRPr>
            </a:lvl7pPr>
            <a:lvl8pPr marL="0" indent="0">
              <a:buNone/>
              <a:defRPr sz="1400" b="0">
                <a:solidFill>
                  <a:schemeClr val="bg1"/>
                </a:solidFill>
              </a:defRPr>
            </a:lvl8pPr>
            <a:lvl9pPr marL="0" indent="0">
              <a:buNone/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Autor Nachname</a:t>
            </a:r>
          </a:p>
          <a:p>
            <a:pPr lvl="0"/>
            <a:r>
              <a:rPr lang="de-DE" dirty="0"/>
              <a:t>TT.MM.JJJJ | Ort</a:t>
            </a:r>
          </a:p>
        </p:txBody>
      </p:sp>
      <p:sp>
        <p:nvSpPr>
          <p:cNvPr id="158" name="Schmuckkasten">
            <a:extLst>
              <a:ext uri="{FF2B5EF4-FFF2-40B4-BE49-F238E27FC236}">
                <a16:creationId xmlns:a16="http://schemas.microsoft.com/office/drawing/2014/main" id="{C2D03126-925C-40EC-8310-3178906467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1088291" y="5544208"/>
            <a:ext cx="792000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0" name="Schmuckkasten">
            <a:extLst>
              <a:ext uri="{FF2B5EF4-FFF2-40B4-BE49-F238E27FC236}">
                <a16:creationId xmlns:a16="http://schemas.microsoft.com/office/drawing/2014/main" id="{29F9E01F-2219-4CB0-B68E-9CB9BAD685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1088291" y="3960032"/>
            <a:ext cx="792000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2" name="Schmuckkasten">
            <a:extLst>
              <a:ext uri="{FF2B5EF4-FFF2-40B4-BE49-F238E27FC236}">
                <a16:creationId xmlns:a16="http://schemas.microsoft.com/office/drawing/2014/main" id="{EF618D3B-6754-4F49-9961-A18D5F0890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9504115" y="3960032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4" name="Schmuckkasten">
            <a:extLst>
              <a:ext uri="{FF2B5EF4-FFF2-40B4-BE49-F238E27FC236}">
                <a16:creationId xmlns:a16="http://schemas.microsoft.com/office/drawing/2014/main" id="{B3422F05-5790-4345-B3C0-09478627D2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296203" y="5544208"/>
            <a:ext cx="792000" cy="792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6" name="Schmuckkasten">
            <a:extLst>
              <a:ext uri="{FF2B5EF4-FFF2-40B4-BE49-F238E27FC236}">
                <a16:creationId xmlns:a16="http://schemas.microsoft.com/office/drawing/2014/main" id="{283AD89D-B8EB-44D9-BBE6-AE6040DEE7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296203" y="4752120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2552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>
      <p:transition/>
    </mc:Fallback>
  </mc:AlternateContent>
  <p:extLst>
    <p:ext uri="{DCECCB84-F9BA-43D5-87BE-67443E8EF086}">
      <p15:sldGuideLst xmlns:p15="http://schemas.microsoft.com/office/powerpoint/2012/main">
        <p15:guide id="1" orient="horz" pos="1995">
          <p15:clr>
            <a:srgbClr val="FBAE40"/>
          </p15:clr>
        </p15:guide>
        <p15:guide id="2" pos="374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vier Bilder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9FB20A-4CA1-4046-A1E4-A4673B572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C5D59-98EF-47B2-B19D-A874DC59FF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68242E-50F9-4244-B4BA-556C25D9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7" name="Bildplatzhalter links oben">
            <a:extLst>
              <a:ext uri="{FF2B5EF4-FFF2-40B4-BE49-F238E27FC236}">
                <a16:creationId xmlns:a16="http://schemas.microsoft.com/office/drawing/2014/main" id="{4927079D-CA0B-44BB-90D1-01BBB6FF51A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95015" y="1583680"/>
            <a:ext cx="5148535" cy="19800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9" name="Bildplatzhalter rechts oben">
            <a:extLst>
              <a:ext uri="{FF2B5EF4-FFF2-40B4-BE49-F238E27FC236}">
                <a16:creationId xmlns:a16="http://schemas.microsoft.com/office/drawing/2014/main" id="{5EF16FE8-58E3-493E-A214-DF6EF7EA0B1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939631" y="1583680"/>
            <a:ext cx="5148535" cy="19800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0" name="Bildplatzhalter links unten">
            <a:extLst>
              <a:ext uri="{FF2B5EF4-FFF2-40B4-BE49-F238E27FC236}">
                <a16:creationId xmlns:a16="http://schemas.microsoft.com/office/drawing/2014/main" id="{705871A2-4DDB-4EA0-A8C2-9FF3A336099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95052" y="3959944"/>
            <a:ext cx="5148535" cy="19800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1" name="Bildplatzhalter rechts unten">
            <a:extLst>
              <a:ext uri="{FF2B5EF4-FFF2-40B4-BE49-F238E27FC236}">
                <a16:creationId xmlns:a16="http://schemas.microsoft.com/office/drawing/2014/main" id="{50BFFAC0-B129-4DCE-9F2C-27616421D06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939668" y="3959944"/>
            <a:ext cx="5148535" cy="19800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2" name="Untertitel">
            <a:extLst>
              <a:ext uri="{FF2B5EF4-FFF2-40B4-BE49-F238E27FC236}">
                <a16:creationId xmlns:a16="http://schemas.microsoft.com/office/drawing/2014/main" id="{C408F609-5934-423B-8886-1CED960734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C65FD9F-8F9D-40FF-BBD2-27BEAF432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52653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|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322314-B9B4-4215-9C47-9204B95EED6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B3699D-EEDB-459B-A97E-86D9283A651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5F5963-87BB-428D-9027-5CF8EA51D36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6" name="Bildplatzhalter vollflächig">
            <a:extLst>
              <a:ext uri="{FF2B5EF4-FFF2-40B4-BE49-F238E27FC236}">
                <a16:creationId xmlns:a16="http://schemas.microsoft.com/office/drawing/2014/main" id="{821E816B-7864-4834-8B98-434A344FF57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1879263" cy="6335713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6421E8AE-1894-4863-B8CC-C6EF7B4411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332247" y="288000"/>
            <a:ext cx="1152000" cy="216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3938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>
        <p15:guide id="1" pos="249">
          <p15:clr>
            <a:srgbClr val="FBAE40"/>
          </p15:clr>
        </p15:guide>
        <p15:guide id="2" pos="7234">
          <p15:clr>
            <a:srgbClr val="FBAE40"/>
          </p15:clr>
        </p15:guide>
        <p15:guide id="3" orient="horz" pos="181">
          <p15:clr>
            <a:srgbClr val="FBAE40"/>
          </p15:clr>
        </p15:guide>
        <p15:guide id="4" orient="horz" pos="998">
          <p15:clr>
            <a:srgbClr val="FBAE40"/>
          </p15:clr>
        </p15:guide>
        <p15:guide id="5" orient="horz" pos="374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| Logo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A8E6986-E373-4F2B-8357-9EDA46FB895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F70FF4F-3D2A-4F0D-891E-AEB48FB2B4F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3FBB367-E99C-46C3-97EB-A9352A2239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6" name="Bildplatzhalter vollflächig">
            <a:extLst>
              <a:ext uri="{FF2B5EF4-FFF2-40B4-BE49-F238E27FC236}">
                <a16:creationId xmlns:a16="http://schemas.microsoft.com/office/drawing/2014/main" id="{821E816B-7864-4834-8B98-434A344FF57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1879263" cy="6335713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6421E8AE-1894-4863-B8CC-C6EF7B4411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332247" y="288000"/>
            <a:ext cx="1152000" cy="216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99163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>
        <p15:guide id="1" pos="249">
          <p15:clr>
            <a:srgbClr val="FBAE40"/>
          </p15:clr>
        </p15:guide>
        <p15:guide id="2" pos="7234">
          <p15:clr>
            <a:srgbClr val="FBAE40"/>
          </p15:clr>
        </p15:guide>
        <p15:guide id="3" orient="horz" pos="181">
          <p15:clr>
            <a:srgbClr val="FBAE40"/>
          </p15:clr>
        </p15:guide>
        <p15:guide id="4" orient="horz" pos="998">
          <p15:clr>
            <a:srgbClr val="FBAE40"/>
          </p15:clr>
        </p15:guide>
        <p15:guide id="5" orient="horz" pos="374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9FB20A-4CA1-4046-A1E4-A4673B572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C5D59-98EF-47B2-B19D-A874DC59FF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68242E-50F9-4244-B4BA-556C25D9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0DEDD864-2ABE-4129-9071-A57ACAD0C7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52CA9B7-97B4-46F2-AC0C-B41EEA3653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671936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>
        <p15:guide id="1" orient="horz" pos="998">
          <p15:clr>
            <a:srgbClr val="FBAE40"/>
          </p15:clr>
        </p15:guide>
        <p15:guide id="2" orient="horz" pos="3742">
          <p15:clr>
            <a:srgbClr val="FBAE40"/>
          </p15:clr>
        </p15:guide>
        <p15:guide id="3" pos="249">
          <p15:clr>
            <a:srgbClr val="FBAE40"/>
          </p15:clr>
        </p15:guide>
        <p15:guide id="4" pos="698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schwarz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9FB20A-4CA1-4046-A1E4-A4673B572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C5D59-98EF-47B2-B19D-A874DC59FF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68242E-50F9-4244-B4BA-556C25D9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0DEDD864-2ABE-4129-9071-A57ACAD0C7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52CA9B7-97B4-46F2-AC0C-B41EEA3653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347800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>
        <p15:guide id="1" orient="horz" pos="998">
          <p15:clr>
            <a:srgbClr val="FBAE40"/>
          </p15:clr>
        </p15:guide>
        <p15:guide id="2" orient="horz" pos="3742">
          <p15:clr>
            <a:srgbClr val="FBAE40"/>
          </p15:clr>
        </p15:guide>
        <p15:guide id="3" pos="249">
          <p15:clr>
            <a:srgbClr val="FBAE40"/>
          </p15:clr>
        </p15:guide>
        <p15:guide id="4" pos="698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 schwarz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9FB20A-4CA1-4046-A1E4-A4673B572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C5D59-98EF-47B2-B19D-A874DC59FF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68242E-50F9-4244-B4BA-556C25D9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0DEDD864-2ABE-4129-9071-A57ACAD0C7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52CA9B7-97B4-46F2-AC0C-B41EEA3653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  <p:sp>
        <p:nvSpPr>
          <p:cNvPr id="6" name="Inhaltsplatzhalter">
            <a:extLst>
              <a:ext uri="{FF2B5EF4-FFF2-40B4-BE49-F238E27FC236}">
                <a16:creationId xmlns:a16="http://schemas.microsoft.com/office/drawing/2014/main" id="{EC682866-CEE4-E090-51F7-1382A6A7BC9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95288" y="1584325"/>
            <a:ext cx="10693400" cy="4355847"/>
          </a:xfrm>
        </p:spPr>
        <p:txBody>
          <a:bodyPr/>
          <a:lstStyle>
            <a:lvl2pPr>
              <a:defRPr/>
            </a:lvl2pPr>
            <a:lvl5pPr marL="288000">
              <a:defRPr/>
            </a:lvl5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22076192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>
        <p15:guide id="1" orient="horz" pos="998">
          <p15:clr>
            <a:srgbClr val="FBAE40"/>
          </p15:clr>
        </p15:guide>
        <p15:guide id="2" orient="horz" pos="3742">
          <p15:clr>
            <a:srgbClr val="FBAE40"/>
          </p15:clr>
        </p15:guide>
        <p15:guide id="3" pos="249">
          <p15:clr>
            <a:srgbClr val="FBAE40"/>
          </p15:clr>
        </p15:guide>
        <p15:guide id="4" pos="698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9F57580-7C0F-4A5A-B1F2-3AD0BEA370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D4FAEC-0AFE-410B-BBF8-0E869D9CA0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2990989-4471-45C8-8DA7-E1115AD63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3777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249">
          <p15:clr>
            <a:srgbClr val="FBAE40"/>
          </p15:clr>
        </p15:guide>
        <p15:guide id="2" pos="6985">
          <p15:clr>
            <a:srgbClr val="FBAE40"/>
          </p15:clr>
        </p15:guide>
        <p15:guide id="3" orient="horz" pos="181">
          <p15:clr>
            <a:srgbClr val="FBAE40"/>
          </p15:clr>
        </p15:guide>
        <p15:guide id="4" orient="horz" pos="998">
          <p15:clr>
            <a:srgbClr val="FBAE40"/>
          </p15:clr>
        </p15:guide>
        <p15:guide id="5" orient="horz" pos="374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 | komp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54A3A08-6FA3-4D66-B4CE-E552C5B80D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16200000">
            <a:off x="11844295" y="5184088"/>
            <a:ext cx="720080" cy="144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3981975-73A9-43AF-86DA-D11CC9B507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10637878" y="3077854"/>
            <a:ext cx="3132348" cy="144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3EF505B-CD3F-424C-8150-40AC425C5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952014" y="5831863"/>
            <a:ext cx="288033" cy="14430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3408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249">
          <p15:clr>
            <a:srgbClr val="FBAE40"/>
          </p15:clr>
        </p15:guide>
        <p15:guide id="2" pos="7234">
          <p15:clr>
            <a:srgbClr val="FBAE40"/>
          </p15:clr>
        </p15:guide>
        <p15:guide id="3" orient="horz" pos="181">
          <p15:clr>
            <a:srgbClr val="FBAE40"/>
          </p15:clr>
        </p15:guide>
        <p15:guide id="4" orient="horz" pos="3742">
          <p15:clr>
            <a:srgbClr val="FBAE40"/>
          </p15:clr>
        </p15:guide>
        <p15:guide id="5" orient="horz" pos="998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jektreferenz |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Foliennummernplatzhalter 322">
            <a:extLst>
              <a:ext uri="{FF2B5EF4-FFF2-40B4-BE49-F238E27FC236}">
                <a16:creationId xmlns:a16="http://schemas.microsoft.com/office/drawing/2014/main" id="{F29CA1A6-62F8-46F6-9581-D08298CB9A9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321" name="Datumsplatzhalter 320">
            <a:extLst>
              <a:ext uri="{FF2B5EF4-FFF2-40B4-BE49-F238E27FC236}">
                <a16:creationId xmlns:a16="http://schemas.microsoft.com/office/drawing/2014/main" id="{46595131-8E39-4766-B099-A318A8C14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22" name="Fußzeilenplatzhalter 321">
            <a:extLst>
              <a:ext uri="{FF2B5EF4-FFF2-40B4-BE49-F238E27FC236}">
                <a16:creationId xmlns:a16="http://schemas.microsoft.com/office/drawing/2014/main" id="{F580B053-B44E-4F9F-80F8-E3EDD807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3C33CA77-0ED5-485A-B5D8-A0F5251FE3E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776889" y="3744425"/>
            <a:ext cx="3311799" cy="2196000"/>
          </a:xfrm>
        </p:spPr>
        <p:txBody>
          <a:bodyPr bIns="504000" anchor="ctr" anchorCtr="0"/>
          <a:lstStyle>
            <a:lvl1pPr algn="ctr">
              <a:buNone/>
              <a:defRPr sz="1000"/>
            </a:lvl1pPr>
          </a:lstStyle>
          <a:p>
            <a:r>
              <a:rPr lang="de-DE" dirty="0"/>
              <a:t>Nach Möglichkeit hier bitte den Mehrwert bzw. </a:t>
            </a:r>
            <a:br>
              <a:rPr lang="de-DE" dirty="0"/>
            </a:br>
            <a:r>
              <a:rPr lang="de-DE" dirty="0"/>
              <a:t>das fertige Projektergebnis visualisieren</a:t>
            </a:r>
          </a:p>
        </p:txBody>
      </p:sp>
      <p:sp>
        <p:nvSpPr>
          <p:cNvPr id="16" name="Onlinebild-Platzhalter 3">
            <a:extLst>
              <a:ext uri="{FF2B5EF4-FFF2-40B4-BE49-F238E27FC236}">
                <a16:creationId xmlns:a16="http://schemas.microsoft.com/office/drawing/2014/main" id="{CC6C3D50-250F-43C8-94CF-58A387DDC9CE}"/>
              </a:ext>
            </a:extLst>
          </p:cNvPr>
          <p:cNvSpPr>
            <a:spLocks noGrp="1"/>
          </p:cNvSpPr>
          <p:nvPr>
            <p:ph type="clipArt" sz="quarter" idx="37" hasCustomPrompt="1"/>
          </p:nvPr>
        </p:nvSpPr>
        <p:spPr>
          <a:xfrm>
            <a:off x="10332247" y="792163"/>
            <a:ext cx="1152000" cy="647700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Kundenlogo per </a:t>
            </a:r>
            <a:r>
              <a:rPr lang="de-DE" dirty="0" err="1"/>
              <a:t>Copy&amp;Past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einfügen</a:t>
            </a:r>
          </a:p>
        </p:txBody>
      </p:sp>
      <p:sp>
        <p:nvSpPr>
          <p:cNvPr id="17" name="Textplatzhalter Links">
            <a:extLst>
              <a:ext uri="{FF2B5EF4-FFF2-40B4-BE49-F238E27FC236}">
                <a16:creationId xmlns:a16="http://schemas.microsoft.com/office/drawing/2014/main" id="{991DF666-E412-4CA6-85C2-59E9FE61AF2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95288" y="1583679"/>
            <a:ext cx="3311525" cy="4356745"/>
          </a:xfrm>
        </p:spPr>
        <p:txBody>
          <a:bodyPr numCol="1" spcCol="396000"/>
          <a:lstStyle>
            <a:lvl1pPr marL="144000" indent="-144000">
              <a:spcBef>
                <a:spcPts val="600"/>
              </a:spcBef>
              <a:defRPr sz="1000"/>
            </a:lvl1pPr>
            <a:lvl2pPr>
              <a:defRPr sz="1000" b="0"/>
            </a:lvl2pPr>
            <a:lvl3pPr marL="288000" indent="-144000">
              <a:defRPr sz="1000"/>
            </a:lvl3pPr>
            <a:lvl4pPr>
              <a:spcBef>
                <a:spcPts val="600"/>
              </a:spcBef>
              <a:defRPr sz="1200" b="1"/>
            </a:lvl4pPr>
            <a:lvl5pPr>
              <a:defRPr sz="1000"/>
            </a:lvl5pPr>
            <a:lvl6pPr marL="432000" indent="-144000">
              <a:defRPr sz="1000"/>
            </a:lvl6pPr>
            <a:lvl7pPr marL="432000" indent="-144000">
              <a:defRPr sz="1000"/>
            </a:lvl7pPr>
            <a:lvl8pPr marL="432000" indent="-144000">
              <a:defRPr sz="1000"/>
            </a:lvl8pPr>
            <a:lvl9pPr marL="432000" indent="-144000">
              <a:defRPr sz="1000"/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8" name="Textplatzhalter Mitte">
            <a:extLst>
              <a:ext uri="{FF2B5EF4-FFF2-40B4-BE49-F238E27FC236}">
                <a16:creationId xmlns:a16="http://schemas.microsoft.com/office/drawing/2014/main" id="{AD0FF42E-84FB-4E08-A0AB-65EDB3E2BEED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4103688" y="1583679"/>
            <a:ext cx="3276599" cy="4356745"/>
          </a:xfrm>
        </p:spPr>
        <p:txBody>
          <a:bodyPr numCol="1" spcCol="396000"/>
          <a:lstStyle>
            <a:lvl1pPr marL="144000" indent="-144000">
              <a:spcBef>
                <a:spcPts val="600"/>
              </a:spcBef>
              <a:defRPr sz="1000"/>
            </a:lvl1pPr>
            <a:lvl2pPr>
              <a:defRPr sz="1000" b="0"/>
            </a:lvl2pPr>
            <a:lvl3pPr marL="288000" indent="-144000">
              <a:defRPr sz="1000"/>
            </a:lvl3pPr>
            <a:lvl4pPr>
              <a:spcBef>
                <a:spcPts val="600"/>
              </a:spcBef>
              <a:defRPr sz="1200" b="1"/>
            </a:lvl4pPr>
            <a:lvl5pPr>
              <a:defRPr sz="1000"/>
            </a:lvl5pPr>
            <a:lvl6pPr marL="432000" indent="-144000">
              <a:defRPr sz="1000"/>
            </a:lvl6pPr>
            <a:lvl7pPr marL="432000" indent="-144000">
              <a:defRPr sz="1000"/>
            </a:lvl7pPr>
            <a:lvl8pPr marL="432000" indent="-144000">
              <a:defRPr sz="1000"/>
            </a:lvl8pPr>
            <a:lvl9pPr marL="432000" indent="-144000">
              <a:defRPr sz="1000"/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1" name="Textplatzhalter Rechts Oben">
            <a:extLst>
              <a:ext uri="{FF2B5EF4-FFF2-40B4-BE49-F238E27FC236}">
                <a16:creationId xmlns:a16="http://schemas.microsoft.com/office/drawing/2014/main" id="{BA438C04-B735-4666-8BF8-9AA769281BE3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7776889" y="1583680"/>
            <a:ext cx="3311799" cy="2052228"/>
          </a:xfrm>
        </p:spPr>
        <p:txBody>
          <a:bodyPr numCol="1" spcCol="396000"/>
          <a:lstStyle>
            <a:lvl1pPr marL="144000" indent="-144000">
              <a:spcBef>
                <a:spcPts val="600"/>
              </a:spcBef>
              <a:defRPr sz="1000"/>
            </a:lvl1pPr>
            <a:lvl2pPr>
              <a:defRPr sz="1000" b="0"/>
            </a:lvl2pPr>
            <a:lvl3pPr marL="288000" indent="-144000">
              <a:defRPr sz="1000"/>
            </a:lvl3pPr>
            <a:lvl4pPr>
              <a:spcBef>
                <a:spcPts val="600"/>
              </a:spcBef>
              <a:defRPr sz="1200" b="1"/>
            </a:lvl4pPr>
            <a:lvl5pPr>
              <a:defRPr sz="1000"/>
            </a:lvl5pPr>
            <a:lvl6pPr marL="432000" indent="-144000">
              <a:defRPr sz="1000"/>
            </a:lvl6pPr>
            <a:lvl7pPr marL="432000" indent="-144000">
              <a:defRPr sz="1000"/>
            </a:lvl7pPr>
            <a:lvl8pPr marL="432000" indent="-144000">
              <a:defRPr sz="1000"/>
            </a:lvl8pPr>
            <a:lvl9pPr marL="432000" indent="-144000">
              <a:defRPr sz="1000"/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4" name="Untertitel">
            <a:extLst>
              <a:ext uri="{FF2B5EF4-FFF2-40B4-BE49-F238E27FC236}">
                <a16:creationId xmlns:a16="http://schemas.microsoft.com/office/drawing/2014/main" id="{885589A8-0D2F-47CE-995F-8F153E062B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0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031CC96-D2F4-4E54-8C2A-C903A19A1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93094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jektreferenz |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 descr="Smartphone 2">
            <a:extLst>
              <a:ext uri="{FF2B5EF4-FFF2-40B4-BE49-F238E27FC236}">
                <a16:creationId xmlns:a16="http://schemas.microsoft.com/office/drawing/2014/main" id="{207CF3EE-E1A9-4E9D-827D-DA0AA3588CE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biLevel thresh="7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3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709501" y="1118929"/>
            <a:ext cx="3158122" cy="5289985"/>
          </a:xfrm>
          <a:prstGeom prst="rect">
            <a:avLst/>
          </a:prstGeom>
        </p:spPr>
      </p:pic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A1EA58E-7DC1-4EAA-9F3A-0F77AE8E0386}"/>
              </a:ext>
            </a:extLst>
          </p:cNvPr>
          <p:cNvSpPr/>
          <p:nvPr/>
        </p:nvSpPr>
        <p:spPr>
          <a:xfrm>
            <a:off x="636813" y="1649663"/>
            <a:ext cx="2026454" cy="4255837"/>
          </a:xfrm>
          <a:prstGeom prst="roundRect">
            <a:avLst>
              <a:gd name="adj" fmla="val 1403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8" name="Grafik 17" descr="Smartphone 1">
            <a:extLst>
              <a:ext uri="{FF2B5EF4-FFF2-40B4-BE49-F238E27FC236}">
                <a16:creationId xmlns:a16="http://schemas.microsoft.com/office/drawing/2014/main" id="{60FBAA4F-9F23-45E9-B944-FF2D1FC6AFB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biLevel thresh="7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47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0979" y="1116943"/>
            <a:ext cx="3158122" cy="5289985"/>
          </a:xfrm>
          <a:prstGeom prst="rect">
            <a:avLst/>
          </a:prstGeom>
        </p:spPr>
      </p:pic>
      <p:sp>
        <p:nvSpPr>
          <p:cNvPr id="323" name="Foliennummernplatzhalter 322">
            <a:extLst>
              <a:ext uri="{FF2B5EF4-FFF2-40B4-BE49-F238E27FC236}">
                <a16:creationId xmlns:a16="http://schemas.microsoft.com/office/drawing/2014/main" id="{F29CA1A6-62F8-46F6-9581-D08298CB9A9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321" name="Datumsplatzhalter 320">
            <a:extLst>
              <a:ext uri="{FF2B5EF4-FFF2-40B4-BE49-F238E27FC236}">
                <a16:creationId xmlns:a16="http://schemas.microsoft.com/office/drawing/2014/main" id="{46595131-8E39-4766-B099-A318A8C14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22" name="Fußzeilenplatzhalter 321">
            <a:extLst>
              <a:ext uri="{FF2B5EF4-FFF2-40B4-BE49-F238E27FC236}">
                <a16:creationId xmlns:a16="http://schemas.microsoft.com/office/drawing/2014/main" id="{F580B053-B44E-4F9F-80F8-E3EDD807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5" name="Onlinebild-Platzhalter 3">
            <a:extLst>
              <a:ext uri="{FF2B5EF4-FFF2-40B4-BE49-F238E27FC236}">
                <a16:creationId xmlns:a16="http://schemas.microsoft.com/office/drawing/2014/main" id="{EF79F8E1-BDC4-4553-8A26-95F2108AFA5C}"/>
              </a:ext>
            </a:extLst>
          </p:cNvPr>
          <p:cNvSpPr>
            <a:spLocks noGrp="1"/>
          </p:cNvSpPr>
          <p:nvPr>
            <p:ph type="clipArt" sz="quarter" idx="37" hasCustomPrompt="1"/>
          </p:nvPr>
        </p:nvSpPr>
        <p:spPr>
          <a:xfrm>
            <a:off x="10332247" y="792163"/>
            <a:ext cx="1152000" cy="647700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Kundenlogo per </a:t>
            </a:r>
            <a:r>
              <a:rPr lang="de-DE" dirty="0" err="1"/>
              <a:t>Copy&amp;Past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einfügen</a:t>
            </a:r>
          </a:p>
        </p:txBody>
      </p:sp>
      <p:sp>
        <p:nvSpPr>
          <p:cNvPr id="19" name="Textplatzhalter rechts">
            <a:extLst>
              <a:ext uri="{FF2B5EF4-FFF2-40B4-BE49-F238E27FC236}">
                <a16:creationId xmlns:a16="http://schemas.microsoft.com/office/drawing/2014/main" id="{6B9130CC-2E99-4376-9B84-2CC30DD7E69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940425" y="1584326"/>
            <a:ext cx="5146676" cy="4355838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3B2B24-2C7D-4F60-B056-BA20C81F3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  <p:sp>
        <p:nvSpPr>
          <p:cNvPr id="21" name="Untertitel">
            <a:extLst>
              <a:ext uri="{FF2B5EF4-FFF2-40B4-BE49-F238E27FC236}">
                <a16:creationId xmlns:a16="http://schemas.microsoft.com/office/drawing/2014/main" id="{1A702E91-11F5-44B0-820C-46C2405833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27" name="Bild">
            <a:extLst>
              <a:ext uri="{FF2B5EF4-FFF2-40B4-BE49-F238E27FC236}">
                <a16:creationId xmlns:a16="http://schemas.microsoft.com/office/drawing/2014/main" id="{8279908B-21BD-479D-9BFC-CF1383BFED8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36813" y="1635125"/>
            <a:ext cx="2026454" cy="4267761"/>
          </a:xfrm>
          <a:prstGeom prst="roundRect">
            <a:avLst>
              <a:gd name="adj" fmla="val 13192"/>
            </a:avLst>
          </a:prstGeom>
          <a:solidFill>
            <a:schemeClr val="tx1"/>
          </a:solidFill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bitte Visualisierungen der Applikation einfügen.</a:t>
            </a:r>
          </a:p>
        </p:txBody>
      </p:sp>
      <p:sp>
        <p:nvSpPr>
          <p:cNvPr id="28" name="Bild">
            <a:extLst>
              <a:ext uri="{FF2B5EF4-FFF2-40B4-BE49-F238E27FC236}">
                <a16:creationId xmlns:a16="http://schemas.microsoft.com/office/drawing/2014/main" id="{B0277F9D-E5F0-46D8-9E61-83A0BD7B1399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73239" y="1635125"/>
            <a:ext cx="2026454" cy="4267761"/>
          </a:xfrm>
          <a:prstGeom prst="roundRect">
            <a:avLst>
              <a:gd name="adj" fmla="val 13192"/>
            </a:avLst>
          </a:prstGeom>
          <a:solidFill>
            <a:schemeClr val="tx1"/>
          </a:solidFill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bitte Visualisierungen der Applikation einfügen.</a:t>
            </a:r>
          </a:p>
        </p:txBody>
      </p:sp>
    </p:spTree>
    <p:extLst>
      <p:ext uri="{BB962C8B-B14F-4D97-AF65-F5344CB8AC3E}">
        <p14:creationId xmlns:p14="http://schemas.microsoft.com/office/powerpoint/2010/main" val="3310690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mit Bild |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97E7CCBC-5A51-4922-8971-A7F2D504FE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7203" y="5651713"/>
            <a:ext cx="1547044" cy="288000"/>
          </a:xfrm>
          <a:prstGeom prst="rect">
            <a:avLst/>
          </a:prstGeom>
        </p:spPr>
      </p:pic>
      <p:sp>
        <p:nvSpPr>
          <p:cNvPr id="7" name="Titel">
            <a:extLst>
              <a:ext uri="{FF2B5EF4-FFF2-40B4-BE49-F238E27FC236}">
                <a16:creationId xmlns:a16="http://schemas.microsoft.com/office/drawing/2014/main" id="{B99D3C98-D3C3-4D70-9705-A2A630FA6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015" y="1007784"/>
            <a:ext cx="3958539" cy="1512000"/>
          </a:xfrm>
        </p:spPr>
        <p:txBody>
          <a:bodyPr anchor="b"/>
          <a:lstStyle>
            <a:lvl1pPr>
              <a:defRPr sz="3600" b="1" spc="0" baseline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15" name="Untertitel">
            <a:extLst>
              <a:ext uri="{FF2B5EF4-FFF2-40B4-BE49-F238E27FC236}">
                <a16:creationId xmlns:a16="http://schemas.microsoft.com/office/drawing/2014/main" id="{942FA83A-1852-4C32-85F8-FA1B9D8EEE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727" y="2699908"/>
            <a:ext cx="3958728" cy="936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ysClr val="windowText" lastClr="000000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>
                <a:solidFill>
                  <a:sysClr val="windowText" lastClr="000000"/>
                </a:solidFill>
              </a:defRPr>
            </a:lvl2pPr>
            <a:lvl3pPr marL="0" indent="0">
              <a:buNone/>
              <a:defRPr sz="1800" b="0">
                <a:solidFill>
                  <a:sysClr val="windowText" lastClr="000000"/>
                </a:solidFill>
              </a:defRPr>
            </a:lvl3pPr>
            <a:lvl4pPr marL="0" indent="0">
              <a:buNone/>
              <a:defRPr sz="1800" b="0">
                <a:solidFill>
                  <a:sysClr val="windowText" lastClr="000000"/>
                </a:solidFill>
              </a:defRPr>
            </a:lvl4pPr>
            <a:lvl5pPr marL="0" indent="0">
              <a:buNone/>
              <a:defRPr sz="1800" b="0">
                <a:solidFill>
                  <a:sysClr val="windowText" lastClr="000000"/>
                </a:solidFill>
              </a:defRPr>
            </a:lvl5pPr>
            <a:lvl6pPr marL="0" indent="0">
              <a:buNone/>
              <a:defRPr sz="1800" b="0">
                <a:solidFill>
                  <a:sysClr val="windowText" lastClr="000000"/>
                </a:solidFill>
              </a:defRPr>
            </a:lvl6pPr>
            <a:lvl7pPr marL="0" indent="0">
              <a:buNone/>
              <a:defRPr sz="1800" b="0">
                <a:solidFill>
                  <a:sysClr val="windowText" lastClr="000000"/>
                </a:solidFill>
              </a:defRPr>
            </a:lvl7pPr>
            <a:lvl8pPr marL="0" indent="0">
              <a:buNone/>
              <a:defRPr sz="1800" b="0">
                <a:solidFill>
                  <a:sysClr val="windowText" lastClr="000000"/>
                </a:solidFill>
              </a:defRPr>
            </a:lvl8pPr>
            <a:lvl9pPr marL="0" indent="0">
              <a:buNone/>
              <a:defRPr sz="1800" b="0">
                <a:solidFill>
                  <a:sysClr val="windowText" lastClr="000000"/>
                </a:solidFill>
              </a:defRPr>
            </a:lvl9pPr>
          </a:lstStyle>
          <a:p>
            <a:pPr lvl="0"/>
            <a:r>
              <a:rPr lang="de-DE" dirty="0"/>
              <a:t>Untertitel der Präsentation</a:t>
            </a:r>
          </a:p>
        </p:txBody>
      </p:sp>
      <p:sp>
        <p:nvSpPr>
          <p:cNvPr id="3" name="Schmuckkasten">
            <a:extLst>
              <a:ext uri="{FF2B5EF4-FFF2-40B4-BE49-F238E27FC236}">
                <a16:creationId xmlns:a16="http://schemas.microsoft.com/office/drawing/2014/main" id="{4374F586-099F-4355-97CC-8BCE3ED3C3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1088291" y="0"/>
            <a:ext cx="792000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chmuckkasten">
            <a:extLst>
              <a:ext uri="{FF2B5EF4-FFF2-40B4-BE49-F238E27FC236}">
                <a16:creationId xmlns:a16="http://schemas.microsoft.com/office/drawing/2014/main" id="{AFB0C613-0D19-49FE-A909-F0CAD4B396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103515" y="0"/>
            <a:ext cx="792000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Schmuckkasten">
            <a:extLst>
              <a:ext uri="{FF2B5EF4-FFF2-40B4-BE49-F238E27FC236}">
                <a16:creationId xmlns:a16="http://schemas.microsoft.com/office/drawing/2014/main" id="{28113A1D-1DFA-49FB-9EB7-B854A277A0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296203" y="0"/>
            <a:ext cx="792000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chmuckkasten">
            <a:extLst>
              <a:ext uri="{FF2B5EF4-FFF2-40B4-BE49-F238E27FC236}">
                <a16:creationId xmlns:a16="http://schemas.microsoft.com/office/drawing/2014/main" id="{7AFFC5E3-B7BA-4E60-861B-E8F621218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3311427" y="5544208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Schmuckkasten">
            <a:extLst>
              <a:ext uri="{FF2B5EF4-FFF2-40B4-BE49-F238E27FC236}">
                <a16:creationId xmlns:a16="http://schemas.microsoft.com/office/drawing/2014/main" id="{E44D986F-0666-4424-89D0-5A2F7B3223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103427" y="4752120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Schmuckkasten">
            <a:extLst>
              <a:ext uri="{FF2B5EF4-FFF2-40B4-BE49-F238E27FC236}">
                <a16:creationId xmlns:a16="http://schemas.microsoft.com/office/drawing/2014/main" id="{BED1F647-AC3D-4A9A-8BE2-AF9E5F21A1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103427" y="3960032"/>
            <a:ext cx="792000" cy="792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Schmuckkasten">
            <a:extLst>
              <a:ext uri="{FF2B5EF4-FFF2-40B4-BE49-F238E27FC236}">
                <a16:creationId xmlns:a16="http://schemas.microsoft.com/office/drawing/2014/main" id="{26E98A78-B916-471C-8761-9164E4A26A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895515" y="4752120"/>
            <a:ext cx="792000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2" name="Zusatzinfos">
            <a:extLst>
              <a:ext uri="{FF2B5EF4-FFF2-40B4-BE49-F238E27FC236}">
                <a16:creationId xmlns:a16="http://schemas.microsoft.com/office/drawing/2014/main" id="{F88A5E58-FD56-4972-8EA1-6075B30713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5015" y="3923940"/>
            <a:ext cx="3311798" cy="54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Autor Nachname</a:t>
            </a:r>
          </a:p>
          <a:p>
            <a:pPr lvl="0"/>
            <a:r>
              <a:rPr lang="de-DE" dirty="0"/>
              <a:t>TT.MM.JJJJ | Ort</a:t>
            </a:r>
          </a:p>
        </p:txBody>
      </p:sp>
      <p:sp>
        <p:nvSpPr>
          <p:cNvPr id="35" name="Bild">
            <a:extLst>
              <a:ext uri="{FF2B5EF4-FFF2-40B4-BE49-F238E27FC236}">
                <a16:creationId xmlns:a16="http://schemas.microsoft.com/office/drawing/2014/main" id="{8283CE83-8E5A-46B3-83D5-A291B25ED6E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95515" y="792000"/>
            <a:ext cx="6983748" cy="3960120"/>
          </a:xfrm>
          <a:custGeom>
            <a:avLst/>
            <a:gdLst>
              <a:gd name="connsiteX0" fmla="*/ 0 w 6983748"/>
              <a:gd name="connsiteY0" fmla="*/ 0 h 3960120"/>
              <a:gd name="connsiteX1" fmla="*/ 5868652 w 6983748"/>
              <a:gd name="connsiteY1" fmla="*/ 0 h 3960120"/>
              <a:gd name="connsiteX2" fmla="*/ 6156684 w 6983748"/>
              <a:gd name="connsiteY2" fmla="*/ 0 h 3960120"/>
              <a:gd name="connsiteX3" fmla="*/ 6192688 w 6983748"/>
              <a:gd name="connsiteY3" fmla="*/ 0 h 3960120"/>
              <a:gd name="connsiteX4" fmla="*/ 6192688 w 6983748"/>
              <a:gd name="connsiteY4" fmla="*/ 787214 h 3960120"/>
              <a:gd name="connsiteX5" fmla="*/ 6207746 w 6983748"/>
              <a:gd name="connsiteY5" fmla="*/ 787214 h 3960120"/>
              <a:gd name="connsiteX6" fmla="*/ 6207746 w 6983748"/>
              <a:gd name="connsiteY6" fmla="*/ 791951 h 3960120"/>
              <a:gd name="connsiteX7" fmla="*/ 6983748 w 6983748"/>
              <a:gd name="connsiteY7" fmla="*/ 791951 h 3960120"/>
              <a:gd name="connsiteX8" fmla="*/ 6983748 w 6983748"/>
              <a:gd name="connsiteY8" fmla="*/ 3960120 h 3960120"/>
              <a:gd name="connsiteX9" fmla="*/ 0 w 6983748"/>
              <a:gd name="connsiteY9" fmla="*/ 3960120 h 3960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83748" h="3960120">
                <a:moveTo>
                  <a:pt x="0" y="0"/>
                </a:moveTo>
                <a:lnTo>
                  <a:pt x="5868652" y="0"/>
                </a:lnTo>
                <a:lnTo>
                  <a:pt x="6156684" y="0"/>
                </a:lnTo>
                <a:lnTo>
                  <a:pt x="6192688" y="0"/>
                </a:lnTo>
                <a:lnTo>
                  <a:pt x="6192688" y="787214"/>
                </a:lnTo>
                <a:lnTo>
                  <a:pt x="6207746" y="787214"/>
                </a:lnTo>
                <a:lnTo>
                  <a:pt x="6207746" y="791951"/>
                </a:lnTo>
                <a:lnTo>
                  <a:pt x="6983748" y="791951"/>
                </a:lnTo>
                <a:lnTo>
                  <a:pt x="6983748" y="3960120"/>
                </a:lnTo>
                <a:lnTo>
                  <a:pt x="0" y="3960120"/>
                </a:lnTo>
                <a:close/>
              </a:path>
            </a:pathLst>
          </a:custGeom>
          <a:noFill/>
        </p:spPr>
        <p:txBody>
          <a:bodyPr wrap="square" bIns="864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  <a:lvl2pPr algn="ctr">
              <a:defRPr sz="1000"/>
            </a:lvl2pPr>
          </a:lstStyle>
          <a:p>
            <a:pPr lvl="0"/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</p:spTree>
    <p:extLst>
      <p:ext uri="{BB962C8B-B14F-4D97-AF65-F5344CB8AC3E}">
        <p14:creationId xmlns:p14="http://schemas.microsoft.com/office/powerpoint/2010/main" val="2471457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>
      <p:transition/>
    </mc:Fallback>
  </mc:AlternateContent>
  <p:extLst>
    <p:ext uri="{DCECCB84-F9BA-43D5-87BE-67443E8EF086}">
      <p15:sldGuideLst xmlns:p15="http://schemas.microsoft.com/office/powerpoint/2012/main">
        <p15:guide id="1" orient="horz" pos="1995">
          <p15:clr>
            <a:srgbClr val="FBAE40"/>
          </p15:clr>
        </p15:guide>
        <p15:guide id="2" pos="374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jektreferenz | Desk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969B478-790C-4E90-BDB8-BB29E089E7E5}"/>
              </a:ext>
            </a:extLst>
          </p:cNvPr>
          <p:cNvGrpSpPr/>
          <p:nvPr/>
        </p:nvGrpSpPr>
        <p:grpSpPr>
          <a:xfrm>
            <a:off x="-89547" y="1518441"/>
            <a:ext cx="5782729" cy="4955014"/>
            <a:chOff x="-89547" y="1518441"/>
            <a:chExt cx="5782729" cy="4955014"/>
          </a:xfrm>
        </p:grpSpPr>
        <p:pic>
          <p:nvPicPr>
            <p:cNvPr id="12" name="Grafik 11" descr="Desktop">
              <a:extLst>
                <a:ext uri="{FF2B5EF4-FFF2-40B4-BE49-F238E27FC236}">
                  <a16:creationId xmlns:a16="http://schemas.microsoft.com/office/drawing/2014/main" id="{1A9E0F65-3B69-492C-827A-30ECEACAB1F5}"/>
                </a:ext>
              </a:extLst>
            </p:cNvPr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4"/>
            <a:srcRect t="11147"/>
            <a:stretch/>
          </p:blipFill>
          <p:spPr>
            <a:xfrm>
              <a:off x="-89547" y="2352674"/>
              <a:ext cx="5782729" cy="4120781"/>
            </a:xfrm>
            <a:prstGeom prst="rect">
              <a:avLst/>
            </a:prstGeom>
            <a:effectLst/>
          </p:spPr>
        </p:pic>
        <p:pic>
          <p:nvPicPr>
            <p:cNvPr id="16" name="Grafik 15" descr="Desktop">
              <a:extLst>
                <a:ext uri="{FF2B5EF4-FFF2-40B4-BE49-F238E27FC236}">
                  <a16:creationId xmlns:a16="http://schemas.microsoft.com/office/drawing/2014/main" id="{A6F592C6-29A4-4201-8A3D-150EC6E0D0DA}"/>
                </a:ext>
              </a:extLst>
            </p:cNvPr>
            <p:cNvPicPr>
              <a:picLocks noChangeAspect="1"/>
            </p:cNvPicPr>
            <p:nvPr userDrawn="1">
              <p:custDataLst>
                <p:tags r:id="rId2"/>
              </p:custDataLst>
            </p:nvPr>
          </p:nvPicPr>
          <p:blipFill rotWithShape="1">
            <a:blip r:embed="rId4"/>
            <a:srcRect b="82012"/>
            <a:stretch/>
          </p:blipFill>
          <p:spPr>
            <a:xfrm>
              <a:off x="-89547" y="1518441"/>
              <a:ext cx="5782729" cy="834233"/>
            </a:xfrm>
            <a:prstGeom prst="rect">
              <a:avLst/>
            </a:prstGeom>
            <a:effectLst/>
          </p:spPr>
        </p:pic>
      </p:grpSp>
      <p:sp>
        <p:nvSpPr>
          <p:cNvPr id="6" name="Rechteck 5">
            <a:extLst>
              <a:ext uri="{FF2B5EF4-FFF2-40B4-BE49-F238E27FC236}">
                <a16:creationId xmlns:a16="http://schemas.microsoft.com/office/drawing/2014/main" id="{F0B938D3-23A4-4297-977C-203C554B0FEA}"/>
              </a:ext>
            </a:extLst>
          </p:cNvPr>
          <p:cNvSpPr/>
          <p:nvPr/>
        </p:nvSpPr>
        <p:spPr>
          <a:xfrm>
            <a:off x="70978" y="1655688"/>
            <a:ext cx="5436605" cy="3507628"/>
          </a:xfrm>
          <a:prstGeom prst="rect">
            <a:avLst/>
          </a:prstGeom>
          <a:solidFill>
            <a:srgbClr val="2C2C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323" name="Foliennummernplatzhalter 322">
            <a:extLst>
              <a:ext uri="{FF2B5EF4-FFF2-40B4-BE49-F238E27FC236}">
                <a16:creationId xmlns:a16="http://schemas.microsoft.com/office/drawing/2014/main" id="{F29CA1A6-62F8-46F6-9581-D08298CB9A9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321" name="Datumsplatzhalter 320">
            <a:extLst>
              <a:ext uri="{FF2B5EF4-FFF2-40B4-BE49-F238E27FC236}">
                <a16:creationId xmlns:a16="http://schemas.microsoft.com/office/drawing/2014/main" id="{46595131-8E39-4766-B099-A318A8C14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22" name="Fußzeilenplatzhalter 321">
            <a:extLst>
              <a:ext uri="{FF2B5EF4-FFF2-40B4-BE49-F238E27FC236}">
                <a16:creationId xmlns:a16="http://schemas.microsoft.com/office/drawing/2014/main" id="{F580B053-B44E-4F9F-80F8-E3EDD807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Onlinebild-Platzhalter 3">
            <a:extLst>
              <a:ext uri="{FF2B5EF4-FFF2-40B4-BE49-F238E27FC236}">
                <a16:creationId xmlns:a16="http://schemas.microsoft.com/office/drawing/2014/main" id="{84678921-5BB8-4E9E-820E-41263C9AD3BA}"/>
              </a:ext>
            </a:extLst>
          </p:cNvPr>
          <p:cNvSpPr>
            <a:spLocks noGrp="1"/>
          </p:cNvSpPr>
          <p:nvPr>
            <p:ph type="clipArt" sz="quarter" idx="37" hasCustomPrompt="1"/>
          </p:nvPr>
        </p:nvSpPr>
        <p:spPr>
          <a:xfrm>
            <a:off x="10332247" y="792163"/>
            <a:ext cx="1152000" cy="647700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Kundenlogo per </a:t>
            </a:r>
            <a:r>
              <a:rPr lang="de-DE" dirty="0" err="1"/>
              <a:t>Copy&amp;Past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einfügen</a:t>
            </a:r>
          </a:p>
        </p:txBody>
      </p:sp>
      <p:sp>
        <p:nvSpPr>
          <p:cNvPr id="13" name="Textplatzhalter rechts">
            <a:extLst>
              <a:ext uri="{FF2B5EF4-FFF2-40B4-BE49-F238E27FC236}">
                <a16:creationId xmlns:a16="http://schemas.microsoft.com/office/drawing/2014/main" id="{4C323364-2BB1-427C-8622-4C1D0ECDFDE4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5940425" y="1583680"/>
            <a:ext cx="5148262" cy="4356484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E234FC3-0BDC-43FE-A68C-605A1FC95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  <p:sp>
        <p:nvSpPr>
          <p:cNvPr id="14" name="Untertitel">
            <a:extLst>
              <a:ext uri="{FF2B5EF4-FFF2-40B4-BE49-F238E27FC236}">
                <a16:creationId xmlns:a16="http://schemas.microsoft.com/office/drawing/2014/main" id="{5C45174F-5F7A-4B46-AFFB-B2F537A53B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09B887A-FB3B-4507-92D3-59F5601E3238}"/>
              </a:ext>
            </a:extLst>
          </p:cNvPr>
          <p:cNvSpPr/>
          <p:nvPr/>
        </p:nvSpPr>
        <p:spPr>
          <a:xfrm>
            <a:off x="70978" y="1655688"/>
            <a:ext cx="3248166" cy="3507628"/>
          </a:xfrm>
          <a:custGeom>
            <a:avLst/>
            <a:gdLst>
              <a:gd name="connsiteX0" fmla="*/ 0 w 3360420"/>
              <a:gd name="connsiteY0" fmla="*/ 0 h 3636404"/>
              <a:gd name="connsiteX1" fmla="*/ 3360420 w 3360420"/>
              <a:gd name="connsiteY1" fmla="*/ 0 h 3636404"/>
              <a:gd name="connsiteX2" fmla="*/ 3360420 w 3360420"/>
              <a:gd name="connsiteY2" fmla="*/ 3636404 h 3636404"/>
              <a:gd name="connsiteX3" fmla="*/ 0 w 3360420"/>
              <a:gd name="connsiteY3" fmla="*/ 3636404 h 3636404"/>
              <a:gd name="connsiteX4" fmla="*/ 0 w 3360420"/>
              <a:gd name="connsiteY4" fmla="*/ 0 h 3636404"/>
              <a:gd name="connsiteX0" fmla="*/ 0 w 3360420"/>
              <a:gd name="connsiteY0" fmla="*/ 0 h 3636404"/>
              <a:gd name="connsiteX1" fmla="*/ 3360420 w 3360420"/>
              <a:gd name="connsiteY1" fmla="*/ 0 h 3636404"/>
              <a:gd name="connsiteX2" fmla="*/ 1318260 w 3360420"/>
              <a:gd name="connsiteY2" fmla="*/ 3636404 h 3636404"/>
              <a:gd name="connsiteX3" fmla="*/ 0 w 3360420"/>
              <a:gd name="connsiteY3" fmla="*/ 3636404 h 3636404"/>
              <a:gd name="connsiteX4" fmla="*/ 0 w 3360420"/>
              <a:gd name="connsiteY4" fmla="*/ 0 h 3636404"/>
              <a:gd name="connsiteX0" fmla="*/ 0 w 3360420"/>
              <a:gd name="connsiteY0" fmla="*/ 0 h 3651644"/>
              <a:gd name="connsiteX1" fmla="*/ 3360420 w 3360420"/>
              <a:gd name="connsiteY1" fmla="*/ 0 h 3651644"/>
              <a:gd name="connsiteX2" fmla="*/ 1882140 w 3360420"/>
              <a:gd name="connsiteY2" fmla="*/ 3651644 h 3651644"/>
              <a:gd name="connsiteX3" fmla="*/ 0 w 3360420"/>
              <a:gd name="connsiteY3" fmla="*/ 3636404 h 3651644"/>
              <a:gd name="connsiteX4" fmla="*/ 0 w 3360420"/>
              <a:gd name="connsiteY4" fmla="*/ 0 h 3651644"/>
              <a:gd name="connsiteX0" fmla="*/ 0 w 3318254"/>
              <a:gd name="connsiteY0" fmla="*/ 0 h 3651644"/>
              <a:gd name="connsiteX1" fmla="*/ 3318254 w 3318254"/>
              <a:gd name="connsiteY1" fmla="*/ 0 h 3651644"/>
              <a:gd name="connsiteX2" fmla="*/ 1882140 w 3318254"/>
              <a:gd name="connsiteY2" fmla="*/ 3651644 h 3651644"/>
              <a:gd name="connsiteX3" fmla="*/ 0 w 3318254"/>
              <a:gd name="connsiteY3" fmla="*/ 3636404 h 3651644"/>
              <a:gd name="connsiteX4" fmla="*/ 0 w 3318254"/>
              <a:gd name="connsiteY4" fmla="*/ 0 h 3651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8254" h="3651644">
                <a:moveTo>
                  <a:pt x="0" y="0"/>
                </a:moveTo>
                <a:lnTo>
                  <a:pt x="3318254" y="0"/>
                </a:lnTo>
                <a:lnTo>
                  <a:pt x="1882140" y="3651644"/>
                </a:lnTo>
                <a:lnTo>
                  <a:pt x="0" y="363640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636363"/>
              </a:gs>
              <a:gs pos="100000">
                <a:srgbClr val="464646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15" name="Bild">
            <a:extLst>
              <a:ext uri="{FF2B5EF4-FFF2-40B4-BE49-F238E27FC236}">
                <a16:creationId xmlns:a16="http://schemas.microsoft.com/office/drawing/2014/main" id="{6AE04DC2-4612-41BF-A472-0305E7D4E1AA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150" y="1658069"/>
            <a:ext cx="5438775" cy="3506862"/>
          </a:xfrm>
          <a:prstGeom prst="rect">
            <a:avLst/>
          </a:prstGeom>
          <a:solidFill>
            <a:schemeClr val="tx1"/>
          </a:solidFill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Hier bitte Visualisierungen der Applikation einfügen.</a:t>
            </a:r>
          </a:p>
        </p:txBody>
      </p:sp>
    </p:spTree>
    <p:extLst>
      <p:ext uri="{BB962C8B-B14F-4D97-AF65-F5344CB8AC3E}">
        <p14:creationId xmlns:p14="http://schemas.microsoft.com/office/powerpoint/2010/main" val="301142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jektreferenz |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links">
            <a:extLst>
              <a:ext uri="{FF2B5EF4-FFF2-40B4-BE49-F238E27FC236}">
                <a16:creationId xmlns:a16="http://schemas.microsoft.com/office/drawing/2014/main" id="{5EF16FE8-58E3-493E-A214-DF6EF7EA0B1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95288" y="1584325"/>
            <a:ext cx="5148263" cy="4355839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9" name="Onlinebild-Platzhalter 3">
            <a:extLst>
              <a:ext uri="{FF2B5EF4-FFF2-40B4-BE49-F238E27FC236}">
                <a16:creationId xmlns:a16="http://schemas.microsoft.com/office/drawing/2014/main" id="{E8BEA52F-6E36-4038-8F4C-31B0EF10D441}"/>
              </a:ext>
            </a:extLst>
          </p:cNvPr>
          <p:cNvSpPr>
            <a:spLocks noGrp="1"/>
          </p:cNvSpPr>
          <p:nvPr>
            <p:ph type="clipArt" sz="quarter" idx="37" hasCustomPrompt="1"/>
          </p:nvPr>
        </p:nvSpPr>
        <p:spPr>
          <a:xfrm>
            <a:off x="10332247" y="792163"/>
            <a:ext cx="1152000" cy="647700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Kundenlogo per </a:t>
            </a:r>
            <a:r>
              <a:rPr lang="de-DE" dirty="0" err="1"/>
              <a:t>Copy&amp;Past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einfügen</a:t>
            </a:r>
          </a:p>
        </p:txBody>
      </p:sp>
      <p:sp>
        <p:nvSpPr>
          <p:cNvPr id="20" name="Inhaltsplatzhalter rechts">
            <a:extLst>
              <a:ext uri="{FF2B5EF4-FFF2-40B4-BE49-F238E27FC236}">
                <a16:creationId xmlns:a16="http://schemas.microsoft.com/office/drawing/2014/main" id="{C71DF84D-8CAE-4CC5-8258-5FD6BB6FD07F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5940425" y="1584325"/>
            <a:ext cx="5148261" cy="4355839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7AD0B79-6250-49E7-ABB1-5672709E62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  <p:sp>
        <p:nvSpPr>
          <p:cNvPr id="11" name="Untertitel">
            <a:extLst>
              <a:ext uri="{FF2B5EF4-FFF2-40B4-BE49-F238E27FC236}">
                <a16:creationId xmlns:a16="http://schemas.microsoft.com/office/drawing/2014/main" id="{3A42114F-DCEE-499B-8BA2-FD8089CFE0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968400"/>
            <a:ext cx="943200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AA24525-E1EE-4FBB-A54D-920B4D25AECD}"/>
              </a:ext>
            </a:extLst>
          </p:cNvPr>
          <p:cNvSpPr>
            <a:spLocks noGrp="1"/>
          </p:cNvSpPr>
          <p:nvPr>
            <p:ph type="dt" sz="half" idx="39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ED818A5-654D-479F-9961-7992EFB165C1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D1CA55D-D96F-4AB8-B0F7-E7C20D688E78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8027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 | Custom_Bild_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3">
            <a:extLst>
              <a:ext uri="{FF2B5EF4-FFF2-40B4-BE49-F238E27FC236}">
                <a16:creationId xmlns:a16="http://schemas.microsoft.com/office/drawing/2014/main" id="{C77FC85D-FEA4-4B41-A865-E4B16508702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43262" y="0"/>
            <a:ext cx="6336000" cy="6336000"/>
          </a:xfrm>
          <a:solidFill>
            <a:schemeClr val="bg1">
              <a:lumMod val="95000"/>
            </a:schemeClr>
          </a:solidFill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</p:spTree>
    <p:extLst>
      <p:ext uri="{BB962C8B-B14F-4D97-AF65-F5344CB8AC3E}">
        <p14:creationId xmlns:p14="http://schemas.microsoft.com/office/powerpoint/2010/main" val="3255470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995" userDrawn="1">
          <p15:clr>
            <a:srgbClr val="FBAE40"/>
          </p15:clr>
        </p15:guide>
        <p15:guide id="2" pos="3741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 | Custom_Bild_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3">
            <a:extLst>
              <a:ext uri="{FF2B5EF4-FFF2-40B4-BE49-F238E27FC236}">
                <a16:creationId xmlns:a16="http://schemas.microsoft.com/office/drawing/2014/main" id="{F987C610-E54B-4584-B722-747EA5E24D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5542824" cy="6335713"/>
          </a:xfrm>
          <a:solidFill>
            <a:schemeClr val="bg1">
              <a:lumMod val="95000"/>
            </a:schemeClr>
          </a:solidFill>
        </p:spPr>
        <p:txBody>
          <a:bodyPr vert="horz" lIns="0" tIns="0" rIns="0" bIns="864000" rtlCol="0" anchor="ctr" anchorCtr="1">
            <a:noAutofit/>
          </a:bodyPr>
          <a:lstStyle>
            <a:lvl1pPr>
              <a:buNone/>
              <a:defRPr lang="de-DE" sz="1000" dirty="0">
                <a:solidFill>
                  <a:sysClr val="windowText" lastClr="000000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</p:spTree>
    <p:extLst>
      <p:ext uri="{BB962C8B-B14F-4D97-AF65-F5344CB8AC3E}">
        <p14:creationId xmlns:p14="http://schemas.microsoft.com/office/powerpoint/2010/main" val="2160275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995" userDrawn="1">
          <p15:clr>
            <a:srgbClr val="FBAE40"/>
          </p15:clr>
        </p15:guide>
        <p15:guide id="2" pos="3741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UP | Projekt- referenz | Pho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DC96FDDA-2D5C-464D-AC7B-167259BD12AE}"/>
              </a:ext>
            </a:extLst>
          </p:cNvPr>
          <p:cNvSpPr/>
          <p:nvPr/>
        </p:nvSpPr>
        <p:spPr>
          <a:xfrm>
            <a:off x="2133511" y="-1151163"/>
            <a:ext cx="3651976" cy="4473420"/>
          </a:xfrm>
          <a:custGeom>
            <a:avLst/>
            <a:gdLst>
              <a:gd name="connsiteX0" fmla="*/ 2097110 w 3651976"/>
              <a:gd name="connsiteY0" fmla="*/ 615 h 4473420"/>
              <a:gd name="connsiteX1" fmla="*/ 2237791 w 3651976"/>
              <a:gd name="connsiteY1" fmla="*/ 33131 h 4473420"/>
              <a:gd name="connsiteX2" fmla="*/ 3528443 w 3651976"/>
              <a:gd name="connsiteY2" fmla="*/ 778289 h 4473420"/>
              <a:gd name="connsiteX3" fmla="*/ 3618846 w 3651976"/>
              <a:gd name="connsiteY3" fmla="*/ 1115675 h 4473420"/>
              <a:gd name="connsiteX4" fmla="*/ 1751573 w 3651976"/>
              <a:gd name="connsiteY4" fmla="*/ 4349887 h 4473420"/>
              <a:gd name="connsiteX5" fmla="*/ 1414186 w 3651976"/>
              <a:gd name="connsiteY5" fmla="*/ 4440290 h 4473420"/>
              <a:gd name="connsiteX6" fmla="*/ 123534 w 3651976"/>
              <a:gd name="connsiteY6" fmla="*/ 3695131 h 4473420"/>
              <a:gd name="connsiteX7" fmla="*/ 33131 w 3651976"/>
              <a:gd name="connsiteY7" fmla="*/ 3357745 h 4473420"/>
              <a:gd name="connsiteX8" fmla="*/ 1900404 w 3651976"/>
              <a:gd name="connsiteY8" fmla="*/ 123533 h 4473420"/>
              <a:gd name="connsiteX9" fmla="*/ 2097110 w 3651976"/>
              <a:gd name="connsiteY9" fmla="*/ 615 h 447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51976" h="4473420">
                <a:moveTo>
                  <a:pt x="2097110" y="615"/>
                </a:moveTo>
                <a:cubicBezTo>
                  <a:pt x="2144564" y="-2738"/>
                  <a:pt x="2193492" y="7555"/>
                  <a:pt x="2237791" y="33131"/>
                </a:cubicBezTo>
                <a:lnTo>
                  <a:pt x="3528443" y="778289"/>
                </a:lnTo>
                <a:cubicBezTo>
                  <a:pt x="3646573" y="846492"/>
                  <a:pt x="3687048" y="997545"/>
                  <a:pt x="3618846" y="1115675"/>
                </a:cubicBezTo>
                <a:lnTo>
                  <a:pt x="1751573" y="4349887"/>
                </a:lnTo>
                <a:cubicBezTo>
                  <a:pt x="1683370" y="4468017"/>
                  <a:pt x="1532316" y="4508492"/>
                  <a:pt x="1414186" y="4440290"/>
                </a:cubicBezTo>
                <a:lnTo>
                  <a:pt x="123534" y="3695131"/>
                </a:lnTo>
                <a:cubicBezTo>
                  <a:pt x="5404" y="3626929"/>
                  <a:pt x="-35071" y="3475875"/>
                  <a:pt x="33131" y="3357745"/>
                </a:cubicBezTo>
                <a:lnTo>
                  <a:pt x="1900404" y="123533"/>
                </a:lnTo>
                <a:cubicBezTo>
                  <a:pt x="1943031" y="49702"/>
                  <a:pt x="2018021" y="6205"/>
                  <a:pt x="2097110" y="6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1BBA4D65-58A4-4782-A3C6-A43AC18FBB1F}"/>
              </a:ext>
            </a:extLst>
          </p:cNvPr>
          <p:cNvSpPr/>
          <p:nvPr/>
        </p:nvSpPr>
        <p:spPr>
          <a:xfrm>
            <a:off x="-185844" y="2823430"/>
            <a:ext cx="3651976" cy="4473420"/>
          </a:xfrm>
          <a:custGeom>
            <a:avLst/>
            <a:gdLst>
              <a:gd name="connsiteX0" fmla="*/ 2097110 w 3651976"/>
              <a:gd name="connsiteY0" fmla="*/ 615 h 4473420"/>
              <a:gd name="connsiteX1" fmla="*/ 2237791 w 3651976"/>
              <a:gd name="connsiteY1" fmla="*/ 33131 h 4473420"/>
              <a:gd name="connsiteX2" fmla="*/ 3528443 w 3651976"/>
              <a:gd name="connsiteY2" fmla="*/ 778289 h 4473420"/>
              <a:gd name="connsiteX3" fmla="*/ 3618846 w 3651976"/>
              <a:gd name="connsiteY3" fmla="*/ 1115675 h 4473420"/>
              <a:gd name="connsiteX4" fmla="*/ 1751573 w 3651976"/>
              <a:gd name="connsiteY4" fmla="*/ 4349887 h 4473420"/>
              <a:gd name="connsiteX5" fmla="*/ 1414186 w 3651976"/>
              <a:gd name="connsiteY5" fmla="*/ 4440290 h 4473420"/>
              <a:gd name="connsiteX6" fmla="*/ 123534 w 3651976"/>
              <a:gd name="connsiteY6" fmla="*/ 3695131 h 4473420"/>
              <a:gd name="connsiteX7" fmla="*/ 33131 w 3651976"/>
              <a:gd name="connsiteY7" fmla="*/ 3357745 h 4473420"/>
              <a:gd name="connsiteX8" fmla="*/ 1900404 w 3651976"/>
              <a:gd name="connsiteY8" fmla="*/ 123533 h 4473420"/>
              <a:gd name="connsiteX9" fmla="*/ 2097110 w 3651976"/>
              <a:gd name="connsiteY9" fmla="*/ 615 h 447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51976" h="4473420">
                <a:moveTo>
                  <a:pt x="2097110" y="615"/>
                </a:moveTo>
                <a:cubicBezTo>
                  <a:pt x="2144564" y="-2738"/>
                  <a:pt x="2193492" y="7555"/>
                  <a:pt x="2237791" y="33131"/>
                </a:cubicBezTo>
                <a:lnTo>
                  <a:pt x="3528443" y="778289"/>
                </a:lnTo>
                <a:cubicBezTo>
                  <a:pt x="3646573" y="846492"/>
                  <a:pt x="3687048" y="997545"/>
                  <a:pt x="3618846" y="1115675"/>
                </a:cubicBezTo>
                <a:lnTo>
                  <a:pt x="1751573" y="4349887"/>
                </a:lnTo>
                <a:cubicBezTo>
                  <a:pt x="1683370" y="4468017"/>
                  <a:pt x="1532316" y="4508492"/>
                  <a:pt x="1414186" y="4440290"/>
                </a:cubicBezTo>
                <a:lnTo>
                  <a:pt x="123534" y="3695131"/>
                </a:lnTo>
                <a:cubicBezTo>
                  <a:pt x="5404" y="3626929"/>
                  <a:pt x="-35071" y="3475875"/>
                  <a:pt x="33131" y="3357745"/>
                </a:cubicBezTo>
                <a:lnTo>
                  <a:pt x="1900404" y="123533"/>
                </a:lnTo>
                <a:cubicBezTo>
                  <a:pt x="1943031" y="49702"/>
                  <a:pt x="2018021" y="6205"/>
                  <a:pt x="2097110" y="6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323" name="Foliennummernplatzhalter 322">
            <a:extLst>
              <a:ext uri="{FF2B5EF4-FFF2-40B4-BE49-F238E27FC236}">
                <a16:creationId xmlns:a16="http://schemas.microsoft.com/office/drawing/2014/main" id="{F29CA1A6-62F8-46F6-9581-D08298CB9A9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AB8EED89-0AED-46AD-A2A2-7D995A4055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03627" y="248400"/>
            <a:ext cx="4032448" cy="1368278"/>
          </a:xfr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16" name="Untertitel">
            <a:extLst>
              <a:ext uri="{FF2B5EF4-FFF2-40B4-BE49-F238E27FC236}">
                <a16:creationId xmlns:a16="http://schemas.microsoft.com/office/drawing/2014/main" id="{0B74B02A-0DAC-4DB6-8A87-42D3A7EB47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03627" y="1714960"/>
            <a:ext cx="5185060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pic>
        <p:nvPicPr>
          <p:cNvPr id="30" name="Grafik 29" descr="Smartphone 1">
            <a:extLst>
              <a:ext uri="{FF2B5EF4-FFF2-40B4-BE49-F238E27FC236}">
                <a16:creationId xmlns:a16="http://schemas.microsoft.com/office/drawing/2014/main" id="{21AE7697-EECC-410B-BB20-E4E031CFE62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2">
            <a:biLevel thresh="75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colorTemperature colorTemp="53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2600000">
            <a:off x="2380891" y="-1559444"/>
            <a:ext cx="3158122" cy="5289985"/>
          </a:xfrm>
          <a:prstGeom prst="rect">
            <a:avLst/>
          </a:prstGeom>
        </p:spPr>
      </p:pic>
      <p:pic>
        <p:nvPicPr>
          <p:cNvPr id="29" name="Grafik 28" descr="Smartphone 2">
            <a:extLst>
              <a:ext uri="{FF2B5EF4-FFF2-40B4-BE49-F238E27FC236}">
                <a16:creationId xmlns:a16="http://schemas.microsoft.com/office/drawing/2014/main" id="{79E4A782-136D-4FC5-A873-5EC2DB8B393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>
            <a:biLevel thresh="75000"/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colorTemperature colorTemp="47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800000">
            <a:off x="65798" y="2408076"/>
            <a:ext cx="3158122" cy="5289985"/>
          </a:xfrm>
          <a:prstGeom prst="rect">
            <a:avLst/>
          </a:prstGeom>
        </p:spPr>
      </p:pic>
      <p:sp>
        <p:nvSpPr>
          <p:cNvPr id="32" name="Bild unten">
            <a:extLst>
              <a:ext uri="{FF2B5EF4-FFF2-40B4-BE49-F238E27FC236}">
                <a16:creationId xmlns:a16="http://schemas.microsoft.com/office/drawing/2014/main" id="{C6BA3B5C-B90C-4A4F-B327-E3646FE42695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 rot="1800000">
            <a:off x="652263" y="2936232"/>
            <a:ext cx="1984284" cy="4228514"/>
          </a:xfrm>
          <a:prstGeom prst="roundRect">
            <a:avLst>
              <a:gd name="adj" fmla="val 12447"/>
            </a:avLst>
          </a:prstGeom>
          <a:solidFill>
            <a:schemeClr val="bg1"/>
          </a:solidFill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Hier bitte Visualisierungen der Applikation einfügen.</a:t>
            </a:r>
          </a:p>
        </p:txBody>
      </p:sp>
      <p:sp>
        <p:nvSpPr>
          <p:cNvPr id="321" name="Datumsplatzhalter 320">
            <a:extLst>
              <a:ext uri="{FF2B5EF4-FFF2-40B4-BE49-F238E27FC236}">
                <a16:creationId xmlns:a16="http://schemas.microsoft.com/office/drawing/2014/main" id="{46595131-8E39-4766-B099-A318A8C14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white">
          <a:xfrm rot="16200000">
            <a:off x="11664275" y="5184088"/>
            <a:ext cx="720080" cy="144000"/>
          </a:xfrm>
        </p:spPr>
        <p:txBody>
          <a:bodyPr/>
          <a:lstStyle>
            <a:lvl1pPr>
              <a:defRPr sz="100">
                <a:solidFill>
                  <a:schemeClr val="tx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22" name="Fußzeilenplatzhalter 321">
            <a:extLst>
              <a:ext uri="{FF2B5EF4-FFF2-40B4-BE49-F238E27FC236}">
                <a16:creationId xmlns:a16="http://schemas.microsoft.com/office/drawing/2014/main" id="{F580B053-B44E-4F9F-80F8-E3EDD807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white">
          <a:xfrm rot="16200000">
            <a:off x="10457858" y="3077854"/>
            <a:ext cx="3132348" cy="144000"/>
          </a:xfrm>
        </p:spPr>
        <p:txBody>
          <a:bodyPr/>
          <a:lstStyle>
            <a:lvl1pPr>
              <a:defRPr sz="100">
                <a:solidFill>
                  <a:schemeClr val="tx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4F5A9585-6527-464A-8F7C-ECA421F2B8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751587" y="4752120"/>
            <a:ext cx="792000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ECD1FEDC-B502-48C1-BAE9-E0A64C8E61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959499" y="5544208"/>
            <a:ext cx="792000" cy="792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5E8464A-8D79-4A6D-8DA4-92EEE36AA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-1" y="-165"/>
            <a:ext cx="792000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6" name="Rechteck 22">
            <a:extLst>
              <a:ext uri="{FF2B5EF4-FFF2-40B4-BE49-F238E27FC236}">
                <a16:creationId xmlns:a16="http://schemas.microsoft.com/office/drawing/2014/main" id="{065F7249-AC7D-4B45-8675-57D79CDAF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791059" y="-2"/>
            <a:ext cx="792000" cy="792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7" name="Rechteck 20">
            <a:extLst>
              <a:ext uri="{FF2B5EF4-FFF2-40B4-BE49-F238E27FC236}">
                <a16:creationId xmlns:a16="http://schemas.microsoft.com/office/drawing/2014/main" id="{372F127D-D3DB-4EDE-9EC6-655608F8BE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-1" y="1584488"/>
            <a:ext cx="792000" cy="79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8" name="!!Rechteck 82">
            <a:extLst>
              <a:ext uri="{FF2B5EF4-FFF2-40B4-BE49-F238E27FC236}">
                <a16:creationId xmlns:a16="http://schemas.microsoft.com/office/drawing/2014/main" id="{BFCAF6D9-8537-4E0D-8A21-F2D35C55BD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-1" y="791680"/>
            <a:ext cx="792000" cy="792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9" name="!!Rechteck 82">
            <a:extLst>
              <a:ext uri="{FF2B5EF4-FFF2-40B4-BE49-F238E27FC236}">
                <a16:creationId xmlns:a16="http://schemas.microsoft.com/office/drawing/2014/main" id="{5DCDCF7F-30F7-41D1-BDBE-F6C3668102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751587" y="5544208"/>
            <a:ext cx="792000" cy="79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86F758E6-0972-4DD1-9FD1-7530113DE8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791059" y="791592"/>
            <a:ext cx="792000" cy="79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Onlinebild-Platzhalter 3">
            <a:extLst>
              <a:ext uri="{FF2B5EF4-FFF2-40B4-BE49-F238E27FC236}">
                <a16:creationId xmlns:a16="http://schemas.microsoft.com/office/drawing/2014/main" id="{0F83BC4C-1413-4D65-AA19-C36BAD336783}"/>
              </a:ext>
            </a:extLst>
          </p:cNvPr>
          <p:cNvSpPr>
            <a:spLocks noGrp="1"/>
          </p:cNvSpPr>
          <p:nvPr>
            <p:ph type="clipArt" sz="quarter" idx="37" hasCustomPrompt="1"/>
          </p:nvPr>
        </p:nvSpPr>
        <p:spPr>
          <a:xfrm>
            <a:off x="10332247" y="792163"/>
            <a:ext cx="1152000" cy="647700"/>
          </a:xfr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undenlogo per </a:t>
            </a:r>
            <a:r>
              <a:rPr lang="de-DE" dirty="0" err="1"/>
              <a:t>Copy&amp;Past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einfügen</a:t>
            </a:r>
          </a:p>
        </p:txBody>
      </p:sp>
      <p:sp>
        <p:nvSpPr>
          <p:cNvPr id="24" name="Inhaltsplatzhalter">
            <a:extLst>
              <a:ext uri="{FF2B5EF4-FFF2-40B4-BE49-F238E27FC236}">
                <a16:creationId xmlns:a16="http://schemas.microsoft.com/office/drawing/2014/main" id="{2416CA8C-2661-4140-9B93-FD84CBE47E24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5940425" y="2376488"/>
            <a:ext cx="5148262" cy="3563676"/>
          </a:xfrm>
          <a:noFill/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1" name="Bild oben">
            <a:extLst>
              <a:ext uri="{FF2B5EF4-FFF2-40B4-BE49-F238E27FC236}">
                <a16:creationId xmlns:a16="http://schemas.microsoft.com/office/drawing/2014/main" id="{7D8EBDE1-8008-447F-AC60-BB92977FD466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 rot="1800000">
            <a:off x="2967356" y="-1028709"/>
            <a:ext cx="1984285" cy="4228514"/>
          </a:xfrm>
          <a:prstGeom prst="roundRect">
            <a:avLst>
              <a:gd name="adj" fmla="val 12447"/>
            </a:avLst>
          </a:prstGeom>
          <a:solidFill>
            <a:schemeClr val="bg1"/>
          </a:solidFill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Hier bitte Visualisierungen der Applikation einfügen.</a:t>
            </a:r>
          </a:p>
        </p:txBody>
      </p:sp>
      <p:sp>
        <p:nvSpPr>
          <p:cNvPr id="4" name="Logo">
            <a:extLst>
              <a:ext uri="{FF2B5EF4-FFF2-40B4-BE49-F238E27FC236}">
                <a16:creationId xmlns:a16="http://schemas.microsoft.com/office/drawing/2014/main" id="{959989D5-3081-11B9-4DA7-EBB7FF8C5B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332247" y="288000"/>
            <a:ext cx="1152000" cy="216000"/>
          </a:xfrm>
          <a:blipFill dpi="0" rotWithShape="1"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89075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14="http://schemas.microsoft.com/office/drawing/2010/main" xmlns:adec="http://schemas.microsoft.com/office/drawing/2017/decorative" xmlns:p15="http://schemas.microsoft.com/office/powerpoint/2012/main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25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25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xit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>
                                        <p:cTn id="26" dur="25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8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5" grpId="0" animBg="1"/>
      <p:bldP spid="36" grpId="0" animBg="1"/>
      <p:bldP spid="38" grpId="0" animBg="1"/>
      <p:bldP spid="39" grpId="0" animBg="1"/>
      <p:bldP spid="40" grpId="0" animBg="1"/>
    </p:bldLst>
  </p:timing>
  <p:extLst>
    <p:ext uri="{DCECCB84-F9BA-43D5-87BE-67443E8EF086}">
      <p15:sldGuideLst xmlns:p15="http://schemas.microsoft.com/office/powerpoint/2012/main">
        <p15:guide id="1" pos="374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P | Projekt- referenz | Desk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4C0C2C6-B367-40B2-B1CB-0ED63BBDB335}"/>
              </a:ext>
            </a:extLst>
          </p:cNvPr>
          <p:cNvGrpSpPr/>
          <p:nvPr/>
        </p:nvGrpSpPr>
        <p:grpSpPr>
          <a:xfrm>
            <a:off x="70978" y="359548"/>
            <a:ext cx="5436605" cy="3507628"/>
            <a:chOff x="70978" y="1655688"/>
            <a:chExt cx="5436605" cy="3507628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DF09560E-4F47-4FA8-B4CA-4F19DA6F30B4}"/>
                </a:ext>
              </a:extLst>
            </p:cNvPr>
            <p:cNvSpPr/>
            <p:nvPr userDrawn="1"/>
          </p:nvSpPr>
          <p:spPr>
            <a:xfrm>
              <a:off x="70978" y="1655688"/>
              <a:ext cx="5436605" cy="3507628"/>
            </a:xfrm>
            <a:prstGeom prst="rect">
              <a:avLst/>
            </a:prstGeom>
            <a:solidFill>
              <a:srgbClr val="2C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8" name="Rechteck 4">
              <a:extLst>
                <a:ext uri="{FF2B5EF4-FFF2-40B4-BE49-F238E27FC236}">
                  <a16:creationId xmlns:a16="http://schemas.microsoft.com/office/drawing/2014/main" id="{9656B454-5ED6-49FD-93B4-70D5F4210877}"/>
                </a:ext>
              </a:extLst>
            </p:cNvPr>
            <p:cNvSpPr/>
            <p:nvPr userDrawn="1"/>
          </p:nvSpPr>
          <p:spPr>
            <a:xfrm>
              <a:off x="70978" y="1655688"/>
              <a:ext cx="3248166" cy="3507628"/>
            </a:xfrm>
            <a:custGeom>
              <a:avLst/>
              <a:gdLst>
                <a:gd name="connsiteX0" fmla="*/ 0 w 3360420"/>
                <a:gd name="connsiteY0" fmla="*/ 0 h 3636404"/>
                <a:gd name="connsiteX1" fmla="*/ 3360420 w 3360420"/>
                <a:gd name="connsiteY1" fmla="*/ 0 h 3636404"/>
                <a:gd name="connsiteX2" fmla="*/ 3360420 w 3360420"/>
                <a:gd name="connsiteY2" fmla="*/ 3636404 h 3636404"/>
                <a:gd name="connsiteX3" fmla="*/ 0 w 3360420"/>
                <a:gd name="connsiteY3" fmla="*/ 3636404 h 3636404"/>
                <a:gd name="connsiteX4" fmla="*/ 0 w 3360420"/>
                <a:gd name="connsiteY4" fmla="*/ 0 h 3636404"/>
                <a:gd name="connsiteX0" fmla="*/ 0 w 3360420"/>
                <a:gd name="connsiteY0" fmla="*/ 0 h 3636404"/>
                <a:gd name="connsiteX1" fmla="*/ 3360420 w 3360420"/>
                <a:gd name="connsiteY1" fmla="*/ 0 h 3636404"/>
                <a:gd name="connsiteX2" fmla="*/ 1318260 w 3360420"/>
                <a:gd name="connsiteY2" fmla="*/ 3636404 h 3636404"/>
                <a:gd name="connsiteX3" fmla="*/ 0 w 3360420"/>
                <a:gd name="connsiteY3" fmla="*/ 3636404 h 3636404"/>
                <a:gd name="connsiteX4" fmla="*/ 0 w 3360420"/>
                <a:gd name="connsiteY4" fmla="*/ 0 h 3636404"/>
                <a:gd name="connsiteX0" fmla="*/ 0 w 3360420"/>
                <a:gd name="connsiteY0" fmla="*/ 0 h 3651644"/>
                <a:gd name="connsiteX1" fmla="*/ 3360420 w 3360420"/>
                <a:gd name="connsiteY1" fmla="*/ 0 h 3651644"/>
                <a:gd name="connsiteX2" fmla="*/ 1882140 w 3360420"/>
                <a:gd name="connsiteY2" fmla="*/ 3651644 h 3651644"/>
                <a:gd name="connsiteX3" fmla="*/ 0 w 3360420"/>
                <a:gd name="connsiteY3" fmla="*/ 3636404 h 3651644"/>
                <a:gd name="connsiteX4" fmla="*/ 0 w 3360420"/>
                <a:gd name="connsiteY4" fmla="*/ 0 h 3651644"/>
                <a:gd name="connsiteX0" fmla="*/ 0 w 3318254"/>
                <a:gd name="connsiteY0" fmla="*/ 0 h 3651644"/>
                <a:gd name="connsiteX1" fmla="*/ 3318254 w 3318254"/>
                <a:gd name="connsiteY1" fmla="*/ 0 h 3651644"/>
                <a:gd name="connsiteX2" fmla="*/ 1882140 w 3318254"/>
                <a:gd name="connsiteY2" fmla="*/ 3651644 h 3651644"/>
                <a:gd name="connsiteX3" fmla="*/ 0 w 3318254"/>
                <a:gd name="connsiteY3" fmla="*/ 3636404 h 3651644"/>
                <a:gd name="connsiteX4" fmla="*/ 0 w 3318254"/>
                <a:gd name="connsiteY4" fmla="*/ 0 h 3651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8254" h="3651644">
                  <a:moveTo>
                    <a:pt x="0" y="0"/>
                  </a:moveTo>
                  <a:lnTo>
                    <a:pt x="3318254" y="0"/>
                  </a:lnTo>
                  <a:lnTo>
                    <a:pt x="1882140" y="3651644"/>
                  </a:lnTo>
                  <a:lnTo>
                    <a:pt x="0" y="363640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636363"/>
                </a:gs>
                <a:gs pos="100000">
                  <a:srgbClr val="464646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9DEC87D3-0C66-42E2-A099-DCBC9099F1B3}"/>
              </a:ext>
            </a:extLst>
          </p:cNvPr>
          <p:cNvGrpSpPr/>
          <p:nvPr/>
        </p:nvGrpSpPr>
        <p:grpSpPr>
          <a:xfrm>
            <a:off x="-89547" y="229066"/>
            <a:ext cx="5782729" cy="4955014"/>
            <a:chOff x="-89547" y="1518441"/>
            <a:chExt cx="5782729" cy="4955014"/>
          </a:xfrm>
        </p:grpSpPr>
        <p:pic>
          <p:nvPicPr>
            <p:cNvPr id="25" name="Grafik 24" descr="Desktop">
              <a:extLst>
                <a:ext uri="{FF2B5EF4-FFF2-40B4-BE49-F238E27FC236}">
                  <a16:creationId xmlns:a16="http://schemas.microsoft.com/office/drawing/2014/main" id="{A57A354E-BDF6-4409-B321-E1B03E609F6E}"/>
                </a:ext>
              </a:extLst>
            </p:cNvPr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 rotWithShape="1">
            <a:blip r:embed="rId10"/>
            <a:srcRect t="11147"/>
            <a:stretch/>
          </p:blipFill>
          <p:spPr>
            <a:xfrm>
              <a:off x="-89547" y="2352674"/>
              <a:ext cx="5782729" cy="4120781"/>
            </a:xfrm>
            <a:prstGeom prst="rect">
              <a:avLst/>
            </a:prstGeom>
            <a:effectLst/>
          </p:spPr>
        </p:pic>
        <p:pic>
          <p:nvPicPr>
            <p:cNvPr id="26" name="Grafik 25" descr="Desktop">
              <a:extLst>
                <a:ext uri="{FF2B5EF4-FFF2-40B4-BE49-F238E27FC236}">
                  <a16:creationId xmlns:a16="http://schemas.microsoft.com/office/drawing/2014/main" id="{8D4ED7A8-152B-4271-AB1B-15DF56283EFD}"/>
                </a:ext>
              </a:extLst>
            </p:cNvPr>
            <p:cNvPicPr>
              <a:picLocks noChangeAspect="1"/>
            </p:cNvPicPr>
            <p:nvPr userDrawn="1">
              <p:custDataLst>
                <p:tags r:id="rId8"/>
              </p:custDataLst>
            </p:nvPr>
          </p:nvPicPr>
          <p:blipFill rotWithShape="1">
            <a:blip r:embed="rId10"/>
            <a:srcRect b="82012"/>
            <a:stretch/>
          </p:blipFill>
          <p:spPr>
            <a:xfrm>
              <a:off x="-89547" y="1518441"/>
              <a:ext cx="5782729" cy="834233"/>
            </a:xfrm>
            <a:prstGeom prst="rect">
              <a:avLst/>
            </a:prstGeom>
            <a:effectLst/>
          </p:spPr>
        </p:pic>
      </p:grpSp>
      <p:sp>
        <p:nvSpPr>
          <p:cNvPr id="17" name="Rechteck 16">
            <a:extLst>
              <a:ext uri="{FF2B5EF4-FFF2-40B4-BE49-F238E27FC236}">
                <a16:creationId xmlns:a16="http://schemas.microsoft.com/office/drawing/2014/main" id="{AEF635B6-2B4E-4AF0-BE3C-F3DEBA3559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4750738" y="5544208"/>
            <a:ext cx="792000" cy="792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!!Rechteck 82">
            <a:extLst>
              <a:ext uri="{FF2B5EF4-FFF2-40B4-BE49-F238E27FC236}">
                <a16:creationId xmlns:a16="http://schemas.microsoft.com/office/drawing/2014/main" id="{F97FE2ED-AAE9-4966-B2E1-66FD87E468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4750738" y="5544208"/>
            <a:ext cx="792000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21" name="Datumsplatzhalter 320">
            <a:extLst>
              <a:ext uri="{FF2B5EF4-FFF2-40B4-BE49-F238E27FC236}">
                <a16:creationId xmlns:a16="http://schemas.microsoft.com/office/drawing/2014/main" id="{46595131-8E39-4766-B099-A318A8C14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white">
          <a:xfrm rot="16200000">
            <a:off x="11664275" y="5184088"/>
            <a:ext cx="720080" cy="144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22" name="Fußzeilenplatzhalter 321">
            <a:extLst>
              <a:ext uri="{FF2B5EF4-FFF2-40B4-BE49-F238E27FC236}">
                <a16:creationId xmlns:a16="http://schemas.microsoft.com/office/drawing/2014/main" id="{F580B053-B44E-4F9F-80F8-E3EDD807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white">
          <a:xfrm rot="16200000">
            <a:off x="10457858" y="3077854"/>
            <a:ext cx="3132348" cy="144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323" name="Foliennummernplatzhalter 322">
            <a:extLst>
              <a:ext uri="{FF2B5EF4-FFF2-40B4-BE49-F238E27FC236}">
                <a16:creationId xmlns:a16="http://schemas.microsoft.com/office/drawing/2014/main" id="{F29CA1A6-62F8-46F6-9581-D08298CB9A9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AB8EED89-0AED-46AD-A2A2-7D995A4055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04000" y="248400"/>
            <a:ext cx="4032000" cy="1381244"/>
          </a:xfrm>
        </p:spPr>
        <p:txBody>
          <a:bodyPr anchor="b"/>
          <a:lstStyle/>
          <a:p>
            <a:r>
              <a:rPr lang="de-DE" dirty="0"/>
              <a:t>Titel hinzufügen</a:t>
            </a:r>
          </a:p>
        </p:txBody>
      </p:sp>
      <p:sp>
        <p:nvSpPr>
          <p:cNvPr id="16" name="Untertitel">
            <a:extLst>
              <a:ext uri="{FF2B5EF4-FFF2-40B4-BE49-F238E27FC236}">
                <a16:creationId xmlns:a16="http://schemas.microsoft.com/office/drawing/2014/main" id="{0B74B02A-0DAC-4DB6-8A87-42D3A7EB47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04000" y="1727926"/>
            <a:ext cx="5184686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/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15" name="Bildplatzhalter">
            <a:extLst>
              <a:ext uri="{FF2B5EF4-FFF2-40B4-BE49-F238E27FC236}">
                <a16:creationId xmlns:a16="http://schemas.microsoft.com/office/drawing/2014/main" id="{6AE04DC2-4612-41BF-A472-0305E7D4E1AA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0978" y="428624"/>
            <a:ext cx="5391150" cy="3424239"/>
          </a:xfrm>
          <a:prstGeom prst="rect">
            <a:avLst/>
          </a:prstGeom>
          <a:solidFill>
            <a:schemeClr val="tx1"/>
          </a:solidFill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Hier bitte Visualisierungen der Applikation einfügen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92B028-F80A-43B4-9C58-1891840F25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791059" y="5544208"/>
            <a:ext cx="792000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171124D-57B5-443F-839B-6187DCD78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-1" y="5544208"/>
            <a:ext cx="792000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70B455E-1F47-41A0-8DAB-A58EE80C4C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3959499" y="4752120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!!Rechteck 82">
            <a:extLst>
              <a:ext uri="{FF2B5EF4-FFF2-40B4-BE49-F238E27FC236}">
                <a16:creationId xmlns:a16="http://schemas.microsoft.com/office/drawing/2014/main" id="{03A13D1F-0621-4FA0-93BD-8A8379832A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-1" y="4752120"/>
            <a:ext cx="792000" cy="792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3" name="Onlinebild-Platzhalter 3">
            <a:extLst>
              <a:ext uri="{FF2B5EF4-FFF2-40B4-BE49-F238E27FC236}">
                <a16:creationId xmlns:a16="http://schemas.microsoft.com/office/drawing/2014/main" id="{C425628D-59B5-4F3E-8112-F65307078C74}"/>
              </a:ext>
            </a:extLst>
          </p:cNvPr>
          <p:cNvSpPr>
            <a:spLocks noGrp="1"/>
          </p:cNvSpPr>
          <p:nvPr>
            <p:ph type="clipArt" sz="quarter" idx="37" hasCustomPrompt="1"/>
          </p:nvPr>
        </p:nvSpPr>
        <p:spPr>
          <a:xfrm>
            <a:off x="10332247" y="792163"/>
            <a:ext cx="1152000" cy="647700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Kundenlogo per </a:t>
            </a:r>
            <a:r>
              <a:rPr lang="de-DE" dirty="0" err="1"/>
              <a:t>Copy&amp;Past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einfügen</a:t>
            </a:r>
          </a:p>
        </p:txBody>
      </p:sp>
      <p:sp>
        <p:nvSpPr>
          <p:cNvPr id="24" name="Inhaltsplatzhalter">
            <a:extLst>
              <a:ext uri="{FF2B5EF4-FFF2-40B4-BE49-F238E27FC236}">
                <a16:creationId xmlns:a16="http://schemas.microsoft.com/office/drawing/2014/main" id="{4596F358-92DC-41CC-AFB1-9376D4868E48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5938837" y="2376488"/>
            <a:ext cx="5149849" cy="3563676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21933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25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25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xit" presetSubtype="32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 calcmode="lin" valueType="num">
                                      <p:cBhvr>
                                        <p:cTn id="21" dur="25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3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1" grpId="0" animBg="1"/>
      <p:bldP spid="13" grpId="0" animBg="1"/>
      <p:bldP spid="19" grpId="0" animBg="1"/>
      <p:bldP spid="20" grpId="0" animBg="1"/>
    </p:bldLst>
  </p:timing>
  <p:extLst>
    <p:ext uri="{DCECCB84-F9BA-43D5-87BE-67443E8EF086}">
      <p15:sldGuideLst xmlns:p15="http://schemas.microsoft.com/office/powerpoint/2012/main">
        <p15:guide id="1" pos="278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P | Projekt- referenz |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9FB20A-4CA1-4046-A1E4-A4673B572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16200000">
            <a:off x="11664275" y="5184088"/>
            <a:ext cx="720080" cy="144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C5D59-98EF-47B2-B19D-A874DC59FF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10457858" y="3077854"/>
            <a:ext cx="3132348" cy="144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68242E-50F9-4244-B4BA-556C25D9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CACCD31D-691A-42F7-85CD-550EB83035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04000" y="248400"/>
            <a:ext cx="4032000" cy="1381244"/>
          </a:xfrm>
        </p:spPr>
        <p:txBody>
          <a:bodyPr anchor="b"/>
          <a:lstStyle/>
          <a:p>
            <a:r>
              <a:rPr lang="de-DE" dirty="0"/>
              <a:t>Titel hinzufügen</a:t>
            </a:r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33DE3DD7-22D6-4B20-AFFE-6F6EA831EC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04000" y="1727926"/>
            <a:ext cx="5184686" cy="288000"/>
          </a:xfrm>
        </p:spPr>
        <p:txBody>
          <a:bodyPr lIns="32400"/>
          <a:lstStyle>
            <a:lvl1pPr marL="0" indent="0">
              <a:buFont typeface="Arial" panose="020B0604020202020204" pitchFamily="34" charset="0"/>
              <a:buNone/>
              <a:defRPr sz="1800" b="0"/>
            </a:lvl1pPr>
            <a:lvl2pPr marL="0" indent="0">
              <a:buFont typeface="Arial" panose="020B0604020202020204" pitchFamily="34" charset="0"/>
              <a:buNone/>
              <a:defRPr sz="1800" b="0"/>
            </a:lvl2pPr>
            <a:lvl3pPr marL="0" indent="0">
              <a:buNone/>
              <a:defRPr sz="1800" b="0"/>
            </a:lvl3pPr>
            <a:lvl4pPr marL="0" indent="0">
              <a:buNone/>
              <a:defRPr sz="1800" b="0"/>
            </a:lvl4pPr>
            <a:lvl5pPr marL="0" indent="0">
              <a:buNone/>
              <a:defRPr sz="1800" b="0"/>
            </a:lvl5pPr>
            <a:lvl6pPr marL="0" indent="0">
              <a:buNone/>
              <a:defRPr sz="1800" b="0"/>
            </a:lvl6pPr>
            <a:lvl7pPr marL="0" indent="0">
              <a:buNone/>
              <a:defRPr sz="1800" b="0"/>
            </a:lvl7pPr>
            <a:lvl8pPr marL="0" indent="0">
              <a:buNone/>
              <a:defRPr sz="1800" b="0"/>
            </a:lvl8pPr>
            <a:lvl9pPr marL="0" indent="0">
              <a:buNone/>
              <a:defRPr sz="1800" b="0"/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9" name="Bildplatzhalter links">
            <a:extLst>
              <a:ext uri="{FF2B5EF4-FFF2-40B4-BE49-F238E27FC236}">
                <a16:creationId xmlns:a16="http://schemas.microsoft.com/office/drawing/2014/main" id="{5EF16FE8-58E3-493E-A214-DF6EF7EA0B1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" y="-1"/>
            <a:ext cx="5543550" cy="6335713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9" name="Onlinebild-Platzhalter 3">
            <a:extLst>
              <a:ext uri="{FF2B5EF4-FFF2-40B4-BE49-F238E27FC236}">
                <a16:creationId xmlns:a16="http://schemas.microsoft.com/office/drawing/2014/main" id="{E8BEA52F-6E36-4038-8F4C-31B0EF10D441}"/>
              </a:ext>
            </a:extLst>
          </p:cNvPr>
          <p:cNvSpPr>
            <a:spLocks noGrp="1"/>
          </p:cNvSpPr>
          <p:nvPr>
            <p:ph type="clipArt" sz="quarter" idx="37" hasCustomPrompt="1"/>
          </p:nvPr>
        </p:nvSpPr>
        <p:spPr>
          <a:xfrm>
            <a:off x="10332247" y="792163"/>
            <a:ext cx="1152000" cy="647700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Kundenlogo per </a:t>
            </a:r>
            <a:r>
              <a:rPr lang="de-DE" dirty="0" err="1"/>
              <a:t>Copy&amp;Past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einfügen</a:t>
            </a:r>
          </a:p>
        </p:txBody>
      </p:sp>
      <p:sp>
        <p:nvSpPr>
          <p:cNvPr id="20" name="Inhaltsplatzhalter">
            <a:extLst>
              <a:ext uri="{FF2B5EF4-FFF2-40B4-BE49-F238E27FC236}">
                <a16:creationId xmlns:a16="http://schemas.microsoft.com/office/drawing/2014/main" id="{C71DF84D-8CAE-4CC5-8258-5FD6BB6FD07F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5938839" y="2376488"/>
            <a:ext cx="5149847" cy="3563676"/>
          </a:xfrm>
        </p:spPr>
        <p:txBody>
          <a:bodyPr/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27FCA474-AB5B-E4CC-5EAA-C8299D6B0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4750738" y="5544208"/>
            <a:ext cx="792000" cy="792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!!Rechteck 82">
            <a:extLst>
              <a:ext uri="{FF2B5EF4-FFF2-40B4-BE49-F238E27FC236}">
                <a16:creationId xmlns:a16="http://schemas.microsoft.com/office/drawing/2014/main" id="{9CA8EA81-66BA-D7B0-FB61-DBA0CE2B90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4750738" y="5544208"/>
            <a:ext cx="792000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E66CF66-4119-43ED-609F-03564DA201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791059" y="5544208"/>
            <a:ext cx="792000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B49BA1-7268-771C-83EA-E047176B1E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-1" y="5544208"/>
            <a:ext cx="792000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E154A16-19BF-4C78-FE4B-2B6C66519C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3959499" y="4752120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!!Rechteck 82">
            <a:extLst>
              <a:ext uri="{FF2B5EF4-FFF2-40B4-BE49-F238E27FC236}">
                <a16:creationId xmlns:a16="http://schemas.microsoft.com/office/drawing/2014/main" id="{51D91D21-4FF6-C7B5-97A6-B3AB95D6C4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-1" y="4752120"/>
            <a:ext cx="792000" cy="792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2630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25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xit" presetSubtype="32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 calcmode="lin" valueType="num">
                                      <p:cBhvr>
                                        <p:cTn id="21" dur="25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3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7" grpId="0" animBg="1"/>
      <p:bldP spid="12" grpId="0" animBg="1"/>
      <p:bldP spid="13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P | 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ogo 1">
            <a:extLst>
              <a:ext uri="{FF2B5EF4-FFF2-40B4-BE49-F238E27FC236}">
                <a16:creationId xmlns:a16="http://schemas.microsoft.com/office/drawing/2014/main" id="{ED78C6FC-8368-46E2-B353-FAF02F1C187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15988" y="3975101"/>
            <a:ext cx="1260475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20" name="Logo 2">
            <a:extLst>
              <a:ext uri="{FF2B5EF4-FFF2-40B4-BE49-F238E27FC236}">
                <a16:creationId xmlns:a16="http://schemas.microsoft.com/office/drawing/2014/main" id="{D8F7EB1C-983F-4E0E-8BF2-D5A95833846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662932" y="3975101"/>
            <a:ext cx="1260475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21" name="Logo 3">
            <a:extLst>
              <a:ext uri="{FF2B5EF4-FFF2-40B4-BE49-F238E27FC236}">
                <a16:creationId xmlns:a16="http://schemas.microsoft.com/office/drawing/2014/main" id="{4A56D984-A710-4EFC-B19C-3A1F002A2FF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409876" y="3975101"/>
            <a:ext cx="1260475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22" name="Logo 4">
            <a:extLst>
              <a:ext uri="{FF2B5EF4-FFF2-40B4-BE49-F238E27FC236}">
                <a16:creationId xmlns:a16="http://schemas.microsoft.com/office/drawing/2014/main" id="{42C98D8F-CCC2-4DB6-A927-21BA134864E5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34740" y="4731422"/>
            <a:ext cx="1260475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23" name="Logo 5">
            <a:extLst>
              <a:ext uri="{FF2B5EF4-FFF2-40B4-BE49-F238E27FC236}">
                <a16:creationId xmlns:a16="http://schemas.microsoft.com/office/drawing/2014/main" id="{0C74D8C5-EDA2-42A2-AE68-F97707B58F88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2662932" y="4731422"/>
            <a:ext cx="1260475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24" name="Logo 6">
            <a:extLst>
              <a:ext uri="{FF2B5EF4-FFF2-40B4-BE49-F238E27FC236}">
                <a16:creationId xmlns:a16="http://schemas.microsoft.com/office/drawing/2014/main" id="{270CC35E-96F3-4712-8F90-FFCB31898677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4391124" y="4731422"/>
            <a:ext cx="1260475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9FB20A-4CA1-4046-A1E4-A4673B572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16200000">
            <a:off x="11664275" y="5184088"/>
            <a:ext cx="720080" cy="144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C5D59-98EF-47B2-B19D-A874DC59FF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10457858" y="3077854"/>
            <a:ext cx="3132348" cy="144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68242E-50F9-4244-B4BA-556C25D9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0290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>
        <p15:guide id="1" pos="249">
          <p15:clr>
            <a:srgbClr val="FBAE40"/>
          </p15:clr>
        </p15:guide>
        <p15:guide id="2" pos="7234">
          <p15:clr>
            <a:srgbClr val="FBAE40"/>
          </p15:clr>
        </p15:guide>
        <p15:guide id="3" pos="6985">
          <p15:clr>
            <a:srgbClr val="A4A3A4"/>
          </p15:clr>
        </p15:guide>
        <p15:guide id="5" orient="horz" pos="635">
          <p15:clr>
            <a:srgbClr val="A4A3A4"/>
          </p15:clr>
        </p15:guide>
        <p15:guide id="7" orient="horz" pos="3742">
          <p15:clr>
            <a:srgbClr val="FBAE40"/>
          </p15:clr>
        </p15:guide>
        <p15:guide id="8" orient="horz" pos="998">
          <p15:clr>
            <a:srgbClr val="A4A3A4"/>
          </p15:clr>
        </p15:guide>
        <p15:guide id="9" orient="horz" pos="181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P | Kunden Logos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9FB20A-4CA1-4046-A1E4-A4673B572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16200000">
            <a:off x="11664275" y="5184088"/>
            <a:ext cx="720080" cy="144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C5D59-98EF-47B2-B19D-A874DC59FF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10457858" y="3077854"/>
            <a:ext cx="3132348" cy="144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68242E-50F9-4244-B4BA-556C25D9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36FE294B-9EBF-46FA-8B28-199B4A1484E2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791059" y="5543712"/>
            <a:ext cx="792085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538CD0BB-4ABC-4C64-B1D6-8883A32822E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791057" y="3167944"/>
            <a:ext cx="792085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6D1F930-5873-4A9E-A42F-479B49A47A8E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-1028" y="3959713"/>
            <a:ext cx="792085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4A22D0E5-20FA-4DD0-B419-3E2EF8A98075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-1026" y="4752032"/>
            <a:ext cx="792085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7D3E49BD-1E9A-4E46-8D53-E3B9BC7DCC19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-1026" y="-496"/>
            <a:ext cx="792085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2BA171DF-4713-4DF2-A910-98E022E2178C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791056" y="791592"/>
            <a:ext cx="792085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E4E86E3-F7D8-44CC-BAA1-0849D4EADBC0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583144" y="3959944"/>
            <a:ext cx="792085" cy="792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726839C6-CF8F-4452-952B-7413F3C3E4DC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0" y="3167944"/>
            <a:ext cx="792085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5E9B8B54-8789-456B-8012-5E9A6AD0F7D2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1583144" y="4752032"/>
            <a:ext cx="792085" cy="79200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71735B26-8A08-4BB4-A3DB-D3E3969DDF7F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0" y="1583592"/>
            <a:ext cx="792085" cy="792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8" name="Titel">
            <a:extLst>
              <a:ext uri="{FF2B5EF4-FFF2-40B4-BE49-F238E27FC236}">
                <a16:creationId xmlns:a16="http://schemas.microsoft.com/office/drawing/2014/main" id="{B525D341-79CA-4518-A089-33DCE768E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7423" y="971524"/>
            <a:ext cx="7021265" cy="612801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69" name="Logo 1">
            <a:extLst>
              <a:ext uri="{FF2B5EF4-FFF2-40B4-BE49-F238E27FC236}">
                <a16:creationId xmlns:a16="http://schemas.microsoft.com/office/drawing/2014/main" id="{CD047872-6ECC-4C4E-B229-596B87AF7783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4103427" y="2155373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70" name="Logo 2">
            <a:extLst>
              <a:ext uri="{FF2B5EF4-FFF2-40B4-BE49-F238E27FC236}">
                <a16:creationId xmlns:a16="http://schemas.microsoft.com/office/drawing/2014/main" id="{15321005-9A2C-4E1A-8BC4-CF2BA3F95D82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5651598" y="2155373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71" name="Logo 3">
            <a:extLst>
              <a:ext uri="{FF2B5EF4-FFF2-40B4-BE49-F238E27FC236}">
                <a16:creationId xmlns:a16="http://schemas.microsoft.com/office/drawing/2014/main" id="{02F3DAB2-90B7-4568-9EF2-DE8CEA62978A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7199667" y="2155373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72" name="Logo 4">
            <a:extLst>
              <a:ext uri="{FF2B5EF4-FFF2-40B4-BE49-F238E27FC236}">
                <a16:creationId xmlns:a16="http://schemas.microsoft.com/office/drawing/2014/main" id="{9AAE400C-4CA0-402B-8551-F04A8DF2707D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8747735" y="2155373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73" name="Logo 5">
            <a:extLst>
              <a:ext uri="{FF2B5EF4-FFF2-40B4-BE49-F238E27FC236}">
                <a16:creationId xmlns:a16="http://schemas.microsoft.com/office/drawing/2014/main" id="{5A48E48D-9D93-4794-BAE5-F218D2467FF9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4103427" y="2903955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74" name="Logo 6">
            <a:extLst>
              <a:ext uri="{FF2B5EF4-FFF2-40B4-BE49-F238E27FC236}">
                <a16:creationId xmlns:a16="http://schemas.microsoft.com/office/drawing/2014/main" id="{03F39F0E-D74C-4E55-9708-3822CC2BF571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5651598" y="2903955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75" name="Logo 7">
            <a:extLst>
              <a:ext uri="{FF2B5EF4-FFF2-40B4-BE49-F238E27FC236}">
                <a16:creationId xmlns:a16="http://schemas.microsoft.com/office/drawing/2014/main" id="{0235D002-E369-4217-8BEA-0FEC1C5C288C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7199667" y="2903955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76" name="Logo 8">
            <a:extLst>
              <a:ext uri="{FF2B5EF4-FFF2-40B4-BE49-F238E27FC236}">
                <a16:creationId xmlns:a16="http://schemas.microsoft.com/office/drawing/2014/main" id="{057DC66F-4DBB-46BB-8FB4-94AB63064AC4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8747735" y="2903955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77" name="Logo 9">
            <a:extLst>
              <a:ext uri="{FF2B5EF4-FFF2-40B4-BE49-F238E27FC236}">
                <a16:creationId xmlns:a16="http://schemas.microsoft.com/office/drawing/2014/main" id="{DCE258C4-CC2F-4C98-B091-6AA4998B790D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4103427" y="3652537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78" name="Logo 10">
            <a:extLst>
              <a:ext uri="{FF2B5EF4-FFF2-40B4-BE49-F238E27FC236}">
                <a16:creationId xmlns:a16="http://schemas.microsoft.com/office/drawing/2014/main" id="{9326C382-0575-4ED5-9C59-E0C92F57943B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5651598" y="3652537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79" name="Logo 11">
            <a:extLst>
              <a:ext uri="{FF2B5EF4-FFF2-40B4-BE49-F238E27FC236}">
                <a16:creationId xmlns:a16="http://schemas.microsoft.com/office/drawing/2014/main" id="{4AE08980-6909-4CD1-87EE-3CF22D2DDF01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7199667" y="3652537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80" name="Logo 12">
            <a:extLst>
              <a:ext uri="{FF2B5EF4-FFF2-40B4-BE49-F238E27FC236}">
                <a16:creationId xmlns:a16="http://schemas.microsoft.com/office/drawing/2014/main" id="{79A1638A-C621-4C4C-9C6A-961B2E098251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8747735" y="3652537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81" name="Logo 13">
            <a:extLst>
              <a:ext uri="{FF2B5EF4-FFF2-40B4-BE49-F238E27FC236}">
                <a16:creationId xmlns:a16="http://schemas.microsoft.com/office/drawing/2014/main" id="{59A514F0-9B29-4C0A-AEA7-0793E8D29A7B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4103427" y="4401119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82" name="Logo 14">
            <a:extLst>
              <a:ext uri="{FF2B5EF4-FFF2-40B4-BE49-F238E27FC236}">
                <a16:creationId xmlns:a16="http://schemas.microsoft.com/office/drawing/2014/main" id="{1C372FAE-31DB-4EF1-8DFA-67CD389BAFD0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5651598" y="4401119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83" name="Logo 15">
            <a:extLst>
              <a:ext uri="{FF2B5EF4-FFF2-40B4-BE49-F238E27FC236}">
                <a16:creationId xmlns:a16="http://schemas.microsoft.com/office/drawing/2014/main" id="{CB3C8142-A318-402E-876F-E3ECF5017D3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7199667" y="4401119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84" name="Logo 16">
            <a:extLst>
              <a:ext uri="{FF2B5EF4-FFF2-40B4-BE49-F238E27FC236}">
                <a16:creationId xmlns:a16="http://schemas.microsoft.com/office/drawing/2014/main" id="{D488B912-6BC8-43E7-B70E-DD8485C71427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8747735" y="4401119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85" name="Logo 17">
            <a:extLst>
              <a:ext uri="{FF2B5EF4-FFF2-40B4-BE49-F238E27FC236}">
                <a16:creationId xmlns:a16="http://schemas.microsoft.com/office/drawing/2014/main" id="{BC9074E1-6FA4-43E7-8D55-2D16A49CBC8F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4103427" y="5149702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86" name="Logo 18">
            <a:extLst>
              <a:ext uri="{FF2B5EF4-FFF2-40B4-BE49-F238E27FC236}">
                <a16:creationId xmlns:a16="http://schemas.microsoft.com/office/drawing/2014/main" id="{5DEEA016-BC4E-4EE0-8EB7-3E9EC23C9E5C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651598" y="5149702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87" name="Logo 19">
            <a:extLst>
              <a:ext uri="{FF2B5EF4-FFF2-40B4-BE49-F238E27FC236}">
                <a16:creationId xmlns:a16="http://schemas.microsoft.com/office/drawing/2014/main" id="{ECAF74BB-4A0D-4786-8ED0-B0C6B7325D3F}"/>
              </a:ext>
            </a:extLst>
          </p:cNvPr>
          <p:cNvSpPr>
            <a:spLocks noGrp="1"/>
          </p:cNvSpPr>
          <p:nvPr>
            <p:ph sz="quarter" idx="55" hasCustomPrompt="1"/>
          </p:nvPr>
        </p:nvSpPr>
        <p:spPr>
          <a:xfrm>
            <a:off x="7199667" y="5149702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88" name="Logo 20">
            <a:extLst>
              <a:ext uri="{FF2B5EF4-FFF2-40B4-BE49-F238E27FC236}">
                <a16:creationId xmlns:a16="http://schemas.microsoft.com/office/drawing/2014/main" id="{666D490D-CA7E-4DCC-AADD-186CB16FEC2B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747735" y="5149702"/>
            <a:ext cx="936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400252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25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5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xit" presetSubtype="32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 calcmode="lin" valueType="num">
                                      <p:cBhvr>
                                        <p:cTn id="26" dur="25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8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53" presetClass="exit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>
                                        <p:cTn id="31" dur="25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5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3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 animBg="1"/>
      <p:bldP spid="40" grpId="0" animBg="1"/>
      <p:bldP spid="43" grpId="0" animBg="1"/>
      <p:bldP spid="45" grpId="0" animBg="1"/>
      <p:bldP spid="46" grpId="0" animBg="1"/>
      <p:bldP spid="47" grpId="0" animBg="1"/>
    </p:bldLst>
  </p:timing>
  <p:extLst>
    <p:ext uri="{DCECCB84-F9BA-43D5-87BE-67443E8EF086}">
      <p15:sldGuideLst xmlns:p15="http://schemas.microsoft.com/office/powerpoint/2012/main">
        <p15:guide id="1" orient="horz" pos="3742">
          <p15:clr>
            <a:srgbClr val="FBAE40"/>
          </p15:clr>
        </p15:guide>
        <p15:guide id="3" pos="7234">
          <p15:clr>
            <a:srgbClr val="FBAE40"/>
          </p15:clr>
        </p15:guide>
        <p15:guide id="4" pos="6985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P | Kunden Logos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9FB20A-4CA1-4046-A1E4-A4673B572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C5D59-98EF-47B2-B19D-A874DC59FF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68242E-50F9-4244-B4BA-556C25D9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2AF1C7C9-073A-4CFD-BFD4-513884B3A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 hinzufügen</a:t>
            </a:r>
          </a:p>
        </p:txBody>
      </p:sp>
      <p:sp>
        <p:nvSpPr>
          <p:cNvPr id="93" name="Logo 1">
            <a:extLst>
              <a:ext uri="{FF2B5EF4-FFF2-40B4-BE49-F238E27FC236}">
                <a16:creationId xmlns:a16="http://schemas.microsoft.com/office/drawing/2014/main" id="{621993FD-3585-4D7C-9B7F-64E50835AF19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382191" y="1583680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94" name="Logo 2">
            <a:extLst>
              <a:ext uri="{FF2B5EF4-FFF2-40B4-BE49-F238E27FC236}">
                <a16:creationId xmlns:a16="http://schemas.microsoft.com/office/drawing/2014/main" id="{D0ADE91D-1C9C-457B-9C99-02D57023B832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757715" y="1583680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95" name="Logo 3">
            <a:extLst>
              <a:ext uri="{FF2B5EF4-FFF2-40B4-BE49-F238E27FC236}">
                <a16:creationId xmlns:a16="http://schemas.microsoft.com/office/drawing/2014/main" id="{6E3F4303-752F-4412-85E4-61CB0D7CAAC0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138795" y="1583680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96" name="Logo 4">
            <a:extLst>
              <a:ext uri="{FF2B5EF4-FFF2-40B4-BE49-F238E27FC236}">
                <a16:creationId xmlns:a16="http://schemas.microsoft.com/office/drawing/2014/main" id="{01FC7716-0FEA-4AB2-9E16-518386E8B9D5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4519875" y="1583680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97" name="Logo 5">
            <a:extLst>
              <a:ext uri="{FF2B5EF4-FFF2-40B4-BE49-F238E27FC236}">
                <a16:creationId xmlns:a16="http://schemas.microsoft.com/office/drawing/2014/main" id="{F718DD5A-D65E-436B-9EBF-B8AFCF76488D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5900955" y="1583680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98" name="Logo 6">
            <a:extLst>
              <a:ext uri="{FF2B5EF4-FFF2-40B4-BE49-F238E27FC236}">
                <a16:creationId xmlns:a16="http://schemas.microsoft.com/office/drawing/2014/main" id="{A5C8CCC7-468A-4030-B8AB-AEF62F7ED308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7282035" y="1583680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99" name="Logo 7">
            <a:extLst>
              <a:ext uri="{FF2B5EF4-FFF2-40B4-BE49-F238E27FC236}">
                <a16:creationId xmlns:a16="http://schemas.microsoft.com/office/drawing/2014/main" id="{BED65BCC-1BA5-4837-B408-5ED62C403418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8663115" y="1583680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0" name="Logo 8">
            <a:extLst>
              <a:ext uri="{FF2B5EF4-FFF2-40B4-BE49-F238E27FC236}">
                <a16:creationId xmlns:a16="http://schemas.microsoft.com/office/drawing/2014/main" id="{35E3C557-6610-40A0-B3CF-93F7C451B94E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10044195" y="1583680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1" name="Logo 9">
            <a:extLst>
              <a:ext uri="{FF2B5EF4-FFF2-40B4-BE49-F238E27FC236}">
                <a16:creationId xmlns:a16="http://schemas.microsoft.com/office/drawing/2014/main" id="{0DF8F8AD-87D2-4D56-809A-4ED0D73039DA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82191" y="2237826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2" name="Logo 10">
            <a:extLst>
              <a:ext uri="{FF2B5EF4-FFF2-40B4-BE49-F238E27FC236}">
                <a16:creationId xmlns:a16="http://schemas.microsoft.com/office/drawing/2014/main" id="{A8BC515D-9CAB-45CD-ADE6-41918EF3B2C4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1757715" y="2237826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3" name="Logo 11">
            <a:extLst>
              <a:ext uri="{FF2B5EF4-FFF2-40B4-BE49-F238E27FC236}">
                <a16:creationId xmlns:a16="http://schemas.microsoft.com/office/drawing/2014/main" id="{1C6D4FF2-CD61-4176-8DB2-9DADF37C5F30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3138795" y="2237826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4" name="Logo 12">
            <a:extLst>
              <a:ext uri="{FF2B5EF4-FFF2-40B4-BE49-F238E27FC236}">
                <a16:creationId xmlns:a16="http://schemas.microsoft.com/office/drawing/2014/main" id="{A830A946-9776-4F62-9906-3DBA95397AE1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4519875" y="2237826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5" name="Logo 13">
            <a:extLst>
              <a:ext uri="{FF2B5EF4-FFF2-40B4-BE49-F238E27FC236}">
                <a16:creationId xmlns:a16="http://schemas.microsoft.com/office/drawing/2014/main" id="{63D17466-70A2-4AFE-A01E-2E7099761608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5900955" y="2237826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6" name="Logo 14">
            <a:extLst>
              <a:ext uri="{FF2B5EF4-FFF2-40B4-BE49-F238E27FC236}">
                <a16:creationId xmlns:a16="http://schemas.microsoft.com/office/drawing/2014/main" id="{16D46351-4FFA-4710-802E-72CF2BD720C4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7282035" y="2237826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7" name="Logo 15">
            <a:extLst>
              <a:ext uri="{FF2B5EF4-FFF2-40B4-BE49-F238E27FC236}">
                <a16:creationId xmlns:a16="http://schemas.microsoft.com/office/drawing/2014/main" id="{9324307B-C37E-44A9-A0AF-685ED345404F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663115" y="2237826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8" name="Logo 16">
            <a:extLst>
              <a:ext uri="{FF2B5EF4-FFF2-40B4-BE49-F238E27FC236}">
                <a16:creationId xmlns:a16="http://schemas.microsoft.com/office/drawing/2014/main" id="{8F071932-5F36-4157-A705-51445002A34A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10044195" y="2237826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09" name="Logo 17">
            <a:extLst>
              <a:ext uri="{FF2B5EF4-FFF2-40B4-BE49-F238E27FC236}">
                <a16:creationId xmlns:a16="http://schemas.microsoft.com/office/drawing/2014/main" id="{8E39D320-C31D-475D-B5DC-69678C541DA5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382191" y="2891972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0" name="Logo 18">
            <a:extLst>
              <a:ext uri="{FF2B5EF4-FFF2-40B4-BE49-F238E27FC236}">
                <a16:creationId xmlns:a16="http://schemas.microsoft.com/office/drawing/2014/main" id="{FE790154-BCCF-4369-BF16-5B330355F2CD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1757715" y="2891972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1" name="Logo 19">
            <a:extLst>
              <a:ext uri="{FF2B5EF4-FFF2-40B4-BE49-F238E27FC236}">
                <a16:creationId xmlns:a16="http://schemas.microsoft.com/office/drawing/2014/main" id="{843E131A-DE53-4B95-8FBC-D33B31563173}"/>
              </a:ext>
            </a:extLst>
          </p:cNvPr>
          <p:cNvSpPr>
            <a:spLocks noGrp="1"/>
          </p:cNvSpPr>
          <p:nvPr>
            <p:ph sz="quarter" idx="55" hasCustomPrompt="1"/>
          </p:nvPr>
        </p:nvSpPr>
        <p:spPr>
          <a:xfrm>
            <a:off x="3138795" y="2891972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2" name="Logo 20">
            <a:extLst>
              <a:ext uri="{FF2B5EF4-FFF2-40B4-BE49-F238E27FC236}">
                <a16:creationId xmlns:a16="http://schemas.microsoft.com/office/drawing/2014/main" id="{0B9488ED-53FD-42A5-BBE4-341A43662862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4519875" y="2891972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3" name="Logo 21">
            <a:extLst>
              <a:ext uri="{FF2B5EF4-FFF2-40B4-BE49-F238E27FC236}">
                <a16:creationId xmlns:a16="http://schemas.microsoft.com/office/drawing/2014/main" id="{1DA22CE2-104A-4475-8D51-58F48F649767}"/>
              </a:ext>
            </a:extLst>
          </p:cNvPr>
          <p:cNvSpPr>
            <a:spLocks noGrp="1"/>
          </p:cNvSpPr>
          <p:nvPr>
            <p:ph sz="quarter" idx="57" hasCustomPrompt="1"/>
          </p:nvPr>
        </p:nvSpPr>
        <p:spPr>
          <a:xfrm>
            <a:off x="5900955" y="2891972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4" name="Logo 22">
            <a:extLst>
              <a:ext uri="{FF2B5EF4-FFF2-40B4-BE49-F238E27FC236}">
                <a16:creationId xmlns:a16="http://schemas.microsoft.com/office/drawing/2014/main" id="{1B453BA7-1584-4746-87D2-5209BE84AFBA}"/>
              </a:ext>
            </a:extLst>
          </p:cNvPr>
          <p:cNvSpPr>
            <a:spLocks noGrp="1"/>
          </p:cNvSpPr>
          <p:nvPr>
            <p:ph sz="quarter" idx="58" hasCustomPrompt="1"/>
          </p:nvPr>
        </p:nvSpPr>
        <p:spPr>
          <a:xfrm>
            <a:off x="7282035" y="2891972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5" name="Logo 23">
            <a:extLst>
              <a:ext uri="{FF2B5EF4-FFF2-40B4-BE49-F238E27FC236}">
                <a16:creationId xmlns:a16="http://schemas.microsoft.com/office/drawing/2014/main" id="{8AD60320-A5A1-45D8-9171-D725CB8F931D}"/>
              </a:ext>
            </a:extLst>
          </p:cNvPr>
          <p:cNvSpPr>
            <a:spLocks noGrp="1"/>
          </p:cNvSpPr>
          <p:nvPr>
            <p:ph sz="quarter" idx="59" hasCustomPrompt="1"/>
          </p:nvPr>
        </p:nvSpPr>
        <p:spPr>
          <a:xfrm>
            <a:off x="8663115" y="2891972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6" name="Logo 24">
            <a:extLst>
              <a:ext uri="{FF2B5EF4-FFF2-40B4-BE49-F238E27FC236}">
                <a16:creationId xmlns:a16="http://schemas.microsoft.com/office/drawing/2014/main" id="{2D1A6A78-1C25-4B05-B656-B861C56FC940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10044195" y="2891972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7" name="Logo 25">
            <a:extLst>
              <a:ext uri="{FF2B5EF4-FFF2-40B4-BE49-F238E27FC236}">
                <a16:creationId xmlns:a16="http://schemas.microsoft.com/office/drawing/2014/main" id="{EC93863F-A9D0-4A55-B5D9-5527650D1874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382191" y="3546118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8" name="Logo 26">
            <a:extLst>
              <a:ext uri="{FF2B5EF4-FFF2-40B4-BE49-F238E27FC236}">
                <a16:creationId xmlns:a16="http://schemas.microsoft.com/office/drawing/2014/main" id="{30DCFD6D-AD53-4EFC-BD7C-AE52958B70EC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1757715" y="3546118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19" name="Logo 27">
            <a:extLst>
              <a:ext uri="{FF2B5EF4-FFF2-40B4-BE49-F238E27FC236}">
                <a16:creationId xmlns:a16="http://schemas.microsoft.com/office/drawing/2014/main" id="{440FD171-1694-4247-A173-86718623198E}"/>
              </a:ext>
            </a:extLst>
          </p:cNvPr>
          <p:cNvSpPr>
            <a:spLocks noGrp="1"/>
          </p:cNvSpPr>
          <p:nvPr>
            <p:ph sz="quarter" idx="63" hasCustomPrompt="1"/>
          </p:nvPr>
        </p:nvSpPr>
        <p:spPr>
          <a:xfrm>
            <a:off x="3138795" y="3546118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20" name="Logo 28">
            <a:extLst>
              <a:ext uri="{FF2B5EF4-FFF2-40B4-BE49-F238E27FC236}">
                <a16:creationId xmlns:a16="http://schemas.microsoft.com/office/drawing/2014/main" id="{33DA21BE-AAFE-4C91-8654-4AE2A09F4A17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4519875" y="3546118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21" name="Logo 29">
            <a:extLst>
              <a:ext uri="{FF2B5EF4-FFF2-40B4-BE49-F238E27FC236}">
                <a16:creationId xmlns:a16="http://schemas.microsoft.com/office/drawing/2014/main" id="{D6FBE655-D016-4C58-BE2E-5BE50F911C37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5900955" y="3546118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22" name="Logo 30">
            <a:extLst>
              <a:ext uri="{FF2B5EF4-FFF2-40B4-BE49-F238E27FC236}">
                <a16:creationId xmlns:a16="http://schemas.microsoft.com/office/drawing/2014/main" id="{800AC6ED-8B43-4A48-83E1-688A5500DA07}"/>
              </a:ext>
            </a:extLst>
          </p:cNvPr>
          <p:cNvSpPr>
            <a:spLocks noGrp="1"/>
          </p:cNvSpPr>
          <p:nvPr>
            <p:ph sz="quarter" idx="66" hasCustomPrompt="1"/>
          </p:nvPr>
        </p:nvSpPr>
        <p:spPr>
          <a:xfrm>
            <a:off x="7282035" y="3546118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23" name="Logo 31">
            <a:extLst>
              <a:ext uri="{FF2B5EF4-FFF2-40B4-BE49-F238E27FC236}">
                <a16:creationId xmlns:a16="http://schemas.microsoft.com/office/drawing/2014/main" id="{7CEAE465-103F-4C68-8396-63018B4E42C1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8663115" y="3546118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24" name="Logo 32">
            <a:extLst>
              <a:ext uri="{FF2B5EF4-FFF2-40B4-BE49-F238E27FC236}">
                <a16:creationId xmlns:a16="http://schemas.microsoft.com/office/drawing/2014/main" id="{0BE50535-75B9-4462-8F54-4F8380063D77}"/>
              </a:ext>
            </a:extLst>
          </p:cNvPr>
          <p:cNvSpPr>
            <a:spLocks noGrp="1"/>
          </p:cNvSpPr>
          <p:nvPr>
            <p:ph sz="quarter" idx="68" hasCustomPrompt="1"/>
          </p:nvPr>
        </p:nvSpPr>
        <p:spPr>
          <a:xfrm>
            <a:off x="10044195" y="3546118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25" name="Logo 33">
            <a:extLst>
              <a:ext uri="{FF2B5EF4-FFF2-40B4-BE49-F238E27FC236}">
                <a16:creationId xmlns:a16="http://schemas.microsoft.com/office/drawing/2014/main" id="{05D5B48D-13B6-42BD-AAD9-8C0485147393}"/>
              </a:ext>
            </a:extLst>
          </p:cNvPr>
          <p:cNvSpPr>
            <a:spLocks noGrp="1"/>
          </p:cNvSpPr>
          <p:nvPr>
            <p:ph sz="quarter" idx="69" hasCustomPrompt="1"/>
          </p:nvPr>
        </p:nvSpPr>
        <p:spPr>
          <a:xfrm>
            <a:off x="382191" y="4200264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26" name="Logo 34">
            <a:extLst>
              <a:ext uri="{FF2B5EF4-FFF2-40B4-BE49-F238E27FC236}">
                <a16:creationId xmlns:a16="http://schemas.microsoft.com/office/drawing/2014/main" id="{3DE30086-5F49-40A3-99DB-40C765C52D77}"/>
              </a:ext>
            </a:extLst>
          </p:cNvPr>
          <p:cNvSpPr>
            <a:spLocks noGrp="1"/>
          </p:cNvSpPr>
          <p:nvPr>
            <p:ph sz="quarter" idx="70" hasCustomPrompt="1"/>
          </p:nvPr>
        </p:nvSpPr>
        <p:spPr>
          <a:xfrm>
            <a:off x="1757715" y="4200264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27" name="Logo 35">
            <a:extLst>
              <a:ext uri="{FF2B5EF4-FFF2-40B4-BE49-F238E27FC236}">
                <a16:creationId xmlns:a16="http://schemas.microsoft.com/office/drawing/2014/main" id="{314138EF-0F2B-4DD2-A62C-0E9AD794CFA3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138795" y="4200264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28" name="Logo 36">
            <a:extLst>
              <a:ext uri="{FF2B5EF4-FFF2-40B4-BE49-F238E27FC236}">
                <a16:creationId xmlns:a16="http://schemas.microsoft.com/office/drawing/2014/main" id="{28ABB67A-6158-44A8-A1D2-C70D1F6398ED}"/>
              </a:ext>
            </a:extLst>
          </p:cNvPr>
          <p:cNvSpPr>
            <a:spLocks noGrp="1"/>
          </p:cNvSpPr>
          <p:nvPr>
            <p:ph sz="quarter" idx="72" hasCustomPrompt="1"/>
          </p:nvPr>
        </p:nvSpPr>
        <p:spPr>
          <a:xfrm>
            <a:off x="4519875" y="4200264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29" name="Logo 37">
            <a:extLst>
              <a:ext uri="{FF2B5EF4-FFF2-40B4-BE49-F238E27FC236}">
                <a16:creationId xmlns:a16="http://schemas.microsoft.com/office/drawing/2014/main" id="{5C32FD6C-5349-44F2-A757-AAFE6A6DBE69}"/>
              </a:ext>
            </a:extLst>
          </p:cNvPr>
          <p:cNvSpPr>
            <a:spLocks noGrp="1"/>
          </p:cNvSpPr>
          <p:nvPr>
            <p:ph sz="quarter" idx="73" hasCustomPrompt="1"/>
          </p:nvPr>
        </p:nvSpPr>
        <p:spPr>
          <a:xfrm>
            <a:off x="5900955" y="4200264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30" name="Logo 38">
            <a:extLst>
              <a:ext uri="{FF2B5EF4-FFF2-40B4-BE49-F238E27FC236}">
                <a16:creationId xmlns:a16="http://schemas.microsoft.com/office/drawing/2014/main" id="{1A352FFA-C717-4B96-9AD7-EC740FC24B51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7282035" y="4200264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31" name="Logo 39">
            <a:extLst>
              <a:ext uri="{FF2B5EF4-FFF2-40B4-BE49-F238E27FC236}">
                <a16:creationId xmlns:a16="http://schemas.microsoft.com/office/drawing/2014/main" id="{C536BFD0-6071-452F-97B7-7A98D362A413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8663115" y="4200264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32" name="Logo 40">
            <a:extLst>
              <a:ext uri="{FF2B5EF4-FFF2-40B4-BE49-F238E27FC236}">
                <a16:creationId xmlns:a16="http://schemas.microsoft.com/office/drawing/2014/main" id="{31B9DB5B-2CEF-4903-8B70-4DA6D3F9908F}"/>
              </a:ext>
            </a:extLst>
          </p:cNvPr>
          <p:cNvSpPr>
            <a:spLocks noGrp="1"/>
          </p:cNvSpPr>
          <p:nvPr>
            <p:ph sz="quarter" idx="76" hasCustomPrompt="1"/>
          </p:nvPr>
        </p:nvSpPr>
        <p:spPr>
          <a:xfrm>
            <a:off x="10044195" y="4200264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33" name="Logo 41">
            <a:extLst>
              <a:ext uri="{FF2B5EF4-FFF2-40B4-BE49-F238E27FC236}">
                <a16:creationId xmlns:a16="http://schemas.microsoft.com/office/drawing/2014/main" id="{C4A7F047-CEF2-4997-B39C-822C1FF330CD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382191" y="4854410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34" name="Logo 42">
            <a:extLst>
              <a:ext uri="{FF2B5EF4-FFF2-40B4-BE49-F238E27FC236}">
                <a16:creationId xmlns:a16="http://schemas.microsoft.com/office/drawing/2014/main" id="{6950FD23-BD2D-42E1-AFF5-CF162BCF9651}"/>
              </a:ext>
            </a:extLst>
          </p:cNvPr>
          <p:cNvSpPr>
            <a:spLocks noGrp="1"/>
          </p:cNvSpPr>
          <p:nvPr>
            <p:ph sz="quarter" idx="78" hasCustomPrompt="1"/>
          </p:nvPr>
        </p:nvSpPr>
        <p:spPr>
          <a:xfrm>
            <a:off x="1757715" y="4854410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35" name="Logo 43">
            <a:extLst>
              <a:ext uri="{FF2B5EF4-FFF2-40B4-BE49-F238E27FC236}">
                <a16:creationId xmlns:a16="http://schemas.microsoft.com/office/drawing/2014/main" id="{5EB4191B-9C19-43FC-BCC1-B13C410C9B79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3138795" y="4854410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36" name="Logo 44">
            <a:extLst>
              <a:ext uri="{FF2B5EF4-FFF2-40B4-BE49-F238E27FC236}">
                <a16:creationId xmlns:a16="http://schemas.microsoft.com/office/drawing/2014/main" id="{934D6660-E8F6-4F82-94DA-498B1194D96C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4519875" y="4854410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37" name="Logo 45">
            <a:extLst>
              <a:ext uri="{FF2B5EF4-FFF2-40B4-BE49-F238E27FC236}">
                <a16:creationId xmlns:a16="http://schemas.microsoft.com/office/drawing/2014/main" id="{AAE3E973-5234-4991-9CEF-FA3A4F7A222B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5900955" y="4854410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38" name="Logo 46">
            <a:extLst>
              <a:ext uri="{FF2B5EF4-FFF2-40B4-BE49-F238E27FC236}">
                <a16:creationId xmlns:a16="http://schemas.microsoft.com/office/drawing/2014/main" id="{4FF1A789-343A-475D-9253-A8423355DA5D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7282035" y="4854410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39" name="Logo 47">
            <a:extLst>
              <a:ext uri="{FF2B5EF4-FFF2-40B4-BE49-F238E27FC236}">
                <a16:creationId xmlns:a16="http://schemas.microsoft.com/office/drawing/2014/main" id="{C18D1861-4D7A-45CB-A1C9-7D5B91ED879C}"/>
              </a:ext>
            </a:extLst>
          </p:cNvPr>
          <p:cNvSpPr>
            <a:spLocks noGrp="1"/>
          </p:cNvSpPr>
          <p:nvPr>
            <p:ph sz="quarter" idx="83" hasCustomPrompt="1"/>
          </p:nvPr>
        </p:nvSpPr>
        <p:spPr>
          <a:xfrm>
            <a:off x="8663115" y="4854410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40" name="Logo 48">
            <a:extLst>
              <a:ext uri="{FF2B5EF4-FFF2-40B4-BE49-F238E27FC236}">
                <a16:creationId xmlns:a16="http://schemas.microsoft.com/office/drawing/2014/main" id="{C5C845C1-6C0B-4681-85E8-D1CFDB889EEC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10044195" y="4854410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41" name="Logo 49">
            <a:extLst>
              <a:ext uri="{FF2B5EF4-FFF2-40B4-BE49-F238E27FC236}">
                <a16:creationId xmlns:a16="http://schemas.microsoft.com/office/drawing/2014/main" id="{908C1C0B-7D3F-4A4D-905B-F9C2B03D98EE}"/>
              </a:ext>
            </a:extLst>
          </p:cNvPr>
          <p:cNvSpPr>
            <a:spLocks noGrp="1"/>
          </p:cNvSpPr>
          <p:nvPr>
            <p:ph sz="quarter" idx="85" hasCustomPrompt="1"/>
          </p:nvPr>
        </p:nvSpPr>
        <p:spPr>
          <a:xfrm>
            <a:off x="382191" y="5508558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42" name="Logo 50">
            <a:extLst>
              <a:ext uri="{FF2B5EF4-FFF2-40B4-BE49-F238E27FC236}">
                <a16:creationId xmlns:a16="http://schemas.microsoft.com/office/drawing/2014/main" id="{3C6AC3E2-1472-42DC-AC90-A145E8E20EFC}"/>
              </a:ext>
            </a:extLst>
          </p:cNvPr>
          <p:cNvSpPr>
            <a:spLocks noGrp="1"/>
          </p:cNvSpPr>
          <p:nvPr>
            <p:ph sz="quarter" idx="86" hasCustomPrompt="1"/>
          </p:nvPr>
        </p:nvSpPr>
        <p:spPr>
          <a:xfrm>
            <a:off x="1757715" y="5508558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43" name="Logo 51">
            <a:extLst>
              <a:ext uri="{FF2B5EF4-FFF2-40B4-BE49-F238E27FC236}">
                <a16:creationId xmlns:a16="http://schemas.microsoft.com/office/drawing/2014/main" id="{DFA3F991-FCD7-4BDE-BAC5-7D390087C075}"/>
              </a:ext>
            </a:extLst>
          </p:cNvPr>
          <p:cNvSpPr>
            <a:spLocks noGrp="1"/>
          </p:cNvSpPr>
          <p:nvPr>
            <p:ph sz="quarter" idx="87" hasCustomPrompt="1"/>
          </p:nvPr>
        </p:nvSpPr>
        <p:spPr>
          <a:xfrm>
            <a:off x="3138795" y="5508558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44" name="Logo 52">
            <a:extLst>
              <a:ext uri="{FF2B5EF4-FFF2-40B4-BE49-F238E27FC236}">
                <a16:creationId xmlns:a16="http://schemas.microsoft.com/office/drawing/2014/main" id="{5ED6D097-7A1D-4DFD-B006-23AE8A2AA203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4519875" y="5508558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45" name="Logo 53">
            <a:extLst>
              <a:ext uri="{FF2B5EF4-FFF2-40B4-BE49-F238E27FC236}">
                <a16:creationId xmlns:a16="http://schemas.microsoft.com/office/drawing/2014/main" id="{008372DC-3C16-454A-9B4A-6749D125C726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900955" y="5508558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46" name="Logo 54">
            <a:extLst>
              <a:ext uri="{FF2B5EF4-FFF2-40B4-BE49-F238E27FC236}">
                <a16:creationId xmlns:a16="http://schemas.microsoft.com/office/drawing/2014/main" id="{A650C516-C686-4C3B-B6B5-ABC4F6425B7C}"/>
              </a:ext>
            </a:extLst>
          </p:cNvPr>
          <p:cNvSpPr>
            <a:spLocks noGrp="1"/>
          </p:cNvSpPr>
          <p:nvPr>
            <p:ph sz="quarter" idx="90" hasCustomPrompt="1"/>
          </p:nvPr>
        </p:nvSpPr>
        <p:spPr>
          <a:xfrm>
            <a:off x="7282035" y="5508558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47" name="Logo 55">
            <a:extLst>
              <a:ext uri="{FF2B5EF4-FFF2-40B4-BE49-F238E27FC236}">
                <a16:creationId xmlns:a16="http://schemas.microsoft.com/office/drawing/2014/main" id="{D43E7B7B-423F-4871-9C13-6EE4BD7CE65B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63115" y="5508558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  <p:sp>
        <p:nvSpPr>
          <p:cNvPr id="148" name="Logo 56">
            <a:extLst>
              <a:ext uri="{FF2B5EF4-FFF2-40B4-BE49-F238E27FC236}">
                <a16:creationId xmlns:a16="http://schemas.microsoft.com/office/drawing/2014/main" id="{4E74B057-FD21-42D6-8D87-13AF1EE7E996}"/>
              </a:ext>
            </a:extLst>
          </p:cNvPr>
          <p:cNvSpPr>
            <a:spLocks noGrp="1"/>
          </p:cNvSpPr>
          <p:nvPr>
            <p:ph sz="quarter" idx="92" hasCustomPrompt="1"/>
          </p:nvPr>
        </p:nvSpPr>
        <p:spPr>
          <a:xfrm>
            <a:off x="10044195" y="5508558"/>
            <a:ext cx="1044000" cy="431606"/>
          </a:xfrm>
        </p:spPr>
        <p:txBody>
          <a:bodyPr anchor="ctr"/>
          <a:lstStyle>
            <a:lvl1pPr marL="0" indent="0" algn="ctr">
              <a:buNone/>
              <a:defRPr sz="1000" b="1"/>
            </a:lvl1pPr>
          </a:lstStyle>
          <a:p>
            <a:pPr lvl="0"/>
            <a:r>
              <a:rPr lang="de-DE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173396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mit Bild |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intergrund">
            <a:extLst>
              <a:ext uri="{FF2B5EF4-FFF2-40B4-BE49-F238E27FC236}">
                <a16:creationId xmlns:a16="http://schemas.microsoft.com/office/drawing/2014/main" id="{8DEE22A6-2827-4845-B8B9-17DEEB28F3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" y="0"/>
            <a:ext cx="4103689" cy="63361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152" name="Bild">
            <a:extLst>
              <a:ext uri="{FF2B5EF4-FFF2-40B4-BE49-F238E27FC236}">
                <a16:creationId xmlns:a16="http://schemas.microsoft.com/office/drawing/2014/main" id="{22CCBB05-AA86-4CD3-8025-9235510DEA7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103427" y="0"/>
            <a:ext cx="7775836" cy="6335713"/>
          </a:xfrm>
          <a:noFill/>
        </p:spPr>
        <p:txBody>
          <a:bodyPr vert="horz" wrap="square" lIns="0" tIns="0" rIns="0" bIns="864000" rtlCol="0" anchor="ctr" anchorCtr="1">
            <a:noAutofit/>
          </a:bodyPr>
          <a:lstStyle>
            <a:lvl1pPr marL="0" indent="0" algn="ctr">
              <a:buNone/>
              <a:defRPr lang="de-DE" sz="1000" b="0" dirty="0">
                <a:solidFill>
                  <a:sysClr val="windowText" lastClr="000000"/>
                </a:solidFill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</a:pPr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97E7CCBC-5A51-4922-8971-A7F2D504FE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664" y="5651713"/>
            <a:ext cx="1547044" cy="288000"/>
          </a:xfrm>
          <a:prstGeom prst="rect">
            <a:avLst/>
          </a:prstGeom>
        </p:spPr>
      </p:pic>
      <p:sp>
        <p:nvSpPr>
          <p:cNvPr id="7" name="Titel">
            <a:extLst>
              <a:ext uri="{FF2B5EF4-FFF2-40B4-BE49-F238E27FC236}">
                <a16:creationId xmlns:a16="http://schemas.microsoft.com/office/drawing/2014/main" id="{B99D3C98-D3C3-4D70-9705-A2A630FA6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95015" y="611572"/>
            <a:ext cx="3311797" cy="1512000"/>
          </a:xfrm>
        </p:spPr>
        <p:txBody>
          <a:bodyPr anchor="b"/>
          <a:lstStyle>
            <a:lvl1pPr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15" name="Untertitel">
            <a:extLst>
              <a:ext uri="{FF2B5EF4-FFF2-40B4-BE49-F238E27FC236}">
                <a16:creationId xmlns:a16="http://schemas.microsoft.com/office/drawing/2014/main" id="{942FA83A-1852-4C32-85F8-FA1B9D8EEE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396726" y="2303696"/>
            <a:ext cx="3311797" cy="936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der Präsentation</a:t>
            </a:r>
          </a:p>
        </p:txBody>
      </p:sp>
      <p:sp>
        <p:nvSpPr>
          <p:cNvPr id="153" name="Schmuckkasten">
            <a:extLst>
              <a:ext uri="{FF2B5EF4-FFF2-40B4-BE49-F238E27FC236}">
                <a16:creationId xmlns:a16="http://schemas.microsoft.com/office/drawing/2014/main" id="{32640E6D-F247-4DAD-9ECC-D953DF2185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3427" y="5544208"/>
            <a:ext cx="792000" cy="792000"/>
          </a:xfrm>
          <a:solidFill>
            <a:schemeClr val="tx2"/>
          </a:solidFill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56" name="Schmuckkasten">
            <a:extLst>
              <a:ext uri="{FF2B5EF4-FFF2-40B4-BE49-F238E27FC236}">
                <a16:creationId xmlns:a16="http://schemas.microsoft.com/office/drawing/2014/main" id="{0C46F2AD-4452-4A89-A89F-683AC0EBB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03515" y="4752120"/>
            <a:ext cx="792000" cy="792000"/>
          </a:xfrm>
          <a:solidFill>
            <a:schemeClr val="tx1"/>
          </a:solidFill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01" name="Schmuckkasten">
            <a:extLst>
              <a:ext uri="{FF2B5EF4-FFF2-40B4-BE49-F238E27FC236}">
                <a16:creationId xmlns:a16="http://schemas.microsoft.com/office/drawing/2014/main" id="{04D2A3A0-3F15-4A60-85C4-BF4EA76620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03515" y="0"/>
            <a:ext cx="792000" cy="792000"/>
          </a:xfrm>
          <a:solidFill>
            <a:schemeClr val="accent2"/>
          </a:solidFill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39" name="Schmuckkasten">
            <a:extLst>
              <a:ext uri="{FF2B5EF4-FFF2-40B4-BE49-F238E27FC236}">
                <a16:creationId xmlns:a16="http://schemas.microsoft.com/office/drawing/2014/main" id="{683DCEF4-1780-46DC-8791-837C9157A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3515" y="791592"/>
            <a:ext cx="792000" cy="792000"/>
          </a:xfrm>
          <a:solidFill>
            <a:schemeClr val="tx2"/>
          </a:solidFill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42" name="Schmuckkasten">
            <a:extLst>
              <a:ext uri="{FF2B5EF4-FFF2-40B4-BE49-F238E27FC236}">
                <a16:creationId xmlns:a16="http://schemas.microsoft.com/office/drawing/2014/main" id="{B75E7DD7-4020-41E7-8691-7FC08268E1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95515" y="1583680"/>
            <a:ext cx="792000" cy="792000"/>
          </a:xfrm>
          <a:solidFill>
            <a:schemeClr val="accent3"/>
          </a:solidFill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43" name="Schmuckkasten">
            <a:extLst>
              <a:ext uri="{FF2B5EF4-FFF2-40B4-BE49-F238E27FC236}">
                <a16:creationId xmlns:a16="http://schemas.microsoft.com/office/drawing/2014/main" id="{C28A361F-D0DD-49D4-9BA3-8B87D6CCA3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723699" y="791680"/>
            <a:ext cx="792000" cy="792000"/>
          </a:xfrm>
          <a:solidFill>
            <a:schemeClr val="accent3"/>
          </a:solidFill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3" name="Zusatzinfos">
            <a:extLst>
              <a:ext uri="{FF2B5EF4-FFF2-40B4-BE49-F238E27FC236}">
                <a16:creationId xmlns:a16="http://schemas.microsoft.com/office/drawing/2014/main" id="{00384C23-5EA5-401F-A60E-C087FB6F74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395014" y="3599936"/>
            <a:ext cx="3313588" cy="54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buNone/>
              <a:defRPr sz="1400" b="0">
                <a:solidFill>
                  <a:schemeClr val="bg1"/>
                </a:solidFill>
              </a:defRPr>
            </a:lvl4pPr>
            <a:lvl5pPr marL="0" indent="0">
              <a:buNone/>
              <a:defRPr sz="1400" b="0">
                <a:solidFill>
                  <a:schemeClr val="bg1"/>
                </a:solidFill>
              </a:defRPr>
            </a:lvl5pPr>
            <a:lvl6pPr marL="0" indent="0">
              <a:buNone/>
              <a:defRPr sz="1400" b="0">
                <a:solidFill>
                  <a:schemeClr val="bg1"/>
                </a:solidFill>
              </a:defRPr>
            </a:lvl6pPr>
            <a:lvl7pPr marL="0" indent="0">
              <a:buNone/>
              <a:defRPr sz="1400" b="0">
                <a:solidFill>
                  <a:schemeClr val="bg1"/>
                </a:solidFill>
              </a:defRPr>
            </a:lvl7pPr>
            <a:lvl8pPr marL="0" indent="0">
              <a:buNone/>
              <a:defRPr sz="1400" b="0">
                <a:solidFill>
                  <a:schemeClr val="bg1"/>
                </a:solidFill>
              </a:defRPr>
            </a:lvl8pPr>
            <a:lvl9pPr marL="0" indent="0">
              <a:buNone/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Autor Nachname</a:t>
            </a:r>
          </a:p>
          <a:p>
            <a:pPr lvl="0"/>
            <a:r>
              <a:rPr lang="de-DE" dirty="0"/>
              <a:t>TT.MM.JJJJ | Ort</a:t>
            </a:r>
          </a:p>
        </p:txBody>
      </p:sp>
      <p:sp>
        <p:nvSpPr>
          <p:cNvPr id="28" name="Schmuckkasten">
            <a:extLst>
              <a:ext uri="{FF2B5EF4-FFF2-40B4-BE49-F238E27FC236}">
                <a16:creationId xmlns:a16="http://schemas.microsoft.com/office/drawing/2014/main" id="{F112AC40-3140-42D9-B8A1-7950D1F8C8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3311427" y="4752120"/>
            <a:ext cx="792000" cy="792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8696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>
      <p:transition/>
    </mc:Fallback>
  </mc:AlternateContent>
  <p:extLst>
    <p:ext uri="{DCECCB84-F9BA-43D5-87BE-67443E8EF086}">
      <p15:sldGuideLst xmlns:p15="http://schemas.microsoft.com/office/powerpoint/2012/main">
        <p15:guide id="1" orient="horz" pos="1995">
          <p15:clr>
            <a:srgbClr val="FBAE40"/>
          </p15:clr>
        </p15:guide>
        <p15:guide id="2" pos="374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P | Standort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9FB20A-4CA1-4046-A1E4-A4673B572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16200000">
            <a:off x="11664275" y="5184088"/>
            <a:ext cx="720080" cy="144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C5D59-98EF-47B2-B19D-A874DC59FF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10457858" y="3077854"/>
            <a:ext cx="3132348" cy="144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68242E-50F9-4244-B4BA-556C25D9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3" name="Bildplatzhalter oben">
            <a:extLst>
              <a:ext uri="{FF2B5EF4-FFF2-40B4-BE49-F238E27FC236}">
                <a16:creationId xmlns:a16="http://schemas.microsoft.com/office/drawing/2014/main" id="{4BE34F2F-4C84-4979-B47E-160045A99D2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7379999" cy="3384000"/>
          </a:xfrm>
          <a:noFill/>
        </p:spPr>
        <p:txBody>
          <a:bodyPr vert="horz" lIns="0" tIns="0" rIns="0" bIns="864000" rtlCol="0" anchor="ctr" anchorCtr="1">
            <a:noAutofit/>
          </a:bodyPr>
          <a:lstStyle>
            <a:lvl1pPr marL="0" indent="0">
              <a:buNone/>
              <a:defRPr lang="de-DE" sz="1000" dirty="0">
                <a:solidFill>
                  <a:sysClr val="windowText" lastClr="000000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4" name="Bildplatzhalter unten links">
            <a:extLst>
              <a:ext uri="{FF2B5EF4-FFF2-40B4-BE49-F238E27FC236}">
                <a16:creationId xmlns:a16="http://schemas.microsoft.com/office/drawing/2014/main" id="{E1D209C9-0D37-41AC-B8BE-B6B68196A72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-1" y="3527896"/>
            <a:ext cx="4788000" cy="2807817"/>
          </a:xfrm>
          <a:noFill/>
        </p:spPr>
        <p:txBody>
          <a:bodyPr vert="horz" lIns="0" tIns="0" rIns="0" bIns="864000" rtlCol="0" anchor="ctr" anchorCtr="1">
            <a:noAutofit/>
          </a:bodyPr>
          <a:lstStyle>
            <a:lvl1pPr marL="0" indent="0">
              <a:buNone/>
              <a:defRPr lang="de-DE" sz="1000" dirty="0">
                <a:solidFill>
                  <a:sysClr val="windowText" lastClr="000000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2" name="Bildplatzhalter unten rechts">
            <a:extLst>
              <a:ext uri="{FF2B5EF4-FFF2-40B4-BE49-F238E27FC236}">
                <a16:creationId xmlns:a16="http://schemas.microsoft.com/office/drawing/2014/main" id="{CBCCF224-F76D-4EC1-99B9-66CC0AE834D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931999" y="3527896"/>
            <a:ext cx="2448000" cy="2807816"/>
          </a:xfrm>
          <a:noFill/>
        </p:spPr>
        <p:txBody>
          <a:bodyPr vert="horz" lIns="0" tIns="0" rIns="0" bIns="864000" rtlCol="0" anchor="ctr" anchorCtr="1">
            <a:noAutofit/>
          </a:bodyPr>
          <a:lstStyle>
            <a:lvl1pPr marL="0" indent="0">
              <a:buNone/>
              <a:defRPr lang="de-DE" sz="1000" dirty="0">
                <a:solidFill>
                  <a:sysClr val="windowText" lastClr="000000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</p:spTree>
    <p:extLst>
      <p:ext uri="{BB962C8B-B14F-4D97-AF65-F5344CB8AC3E}">
        <p14:creationId xmlns:p14="http://schemas.microsoft.com/office/powerpoint/2010/main" val="3931795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>
        <p15:guide id="1" pos="4898">
          <p15:clr>
            <a:srgbClr val="FBAE40"/>
          </p15:clr>
        </p15:guide>
        <p15:guide id="2" pos="6985">
          <p15:clr>
            <a:srgbClr val="A4A3A4"/>
          </p15:clr>
        </p15:guide>
        <p15:guide id="3" pos="7234">
          <p15:clr>
            <a:srgbClr val="FBAE40"/>
          </p15:clr>
        </p15:guide>
        <p15:guide id="4" orient="horz" pos="3742">
          <p15:clr>
            <a:srgbClr val="FBAE40"/>
          </p15:clr>
        </p15:guide>
        <p15:guide id="5" orient="horz" pos="63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P | GF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3011931C-5261-4A56-8C69-82903BE67991}"/>
              </a:ext>
            </a:extLst>
          </p:cNvPr>
          <p:cNvSpPr/>
          <p:nvPr/>
        </p:nvSpPr>
        <p:spPr bwMode="gray">
          <a:xfrm rot="10800000">
            <a:off x="11087178" y="4751713"/>
            <a:ext cx="792085" cy="792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Bildplatzhalter links">
            <a:extLst>
              <a:ext uri="{FF2B5EF4-FFF2-40B4-BE49-F238E27FC236}">
                <a16:creationId xmlns:a16="http://schemas.microsoft.com/office/drawing/2014/main" id="{A8E622FC-ECDB-445F-B2DE-388C4033817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95015" y="1979724"/>
            <a:ext cx="1944000" cy="28800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	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7" name="Text links">
            <a:extLst>
              <a:ext uri="{FF2B5EF4-FFF2-40B4-BE49-F238E27FC236}">
                <a16:creationId xmlns:a16="http://schemas.microsoft.com/office/drawing/2014/main" id="{37AD8935-5B03-4F65-9805-FAB3F57D3F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6875" y="4932363"/>
            <a:ext cx="1941513" cy="1008062"/>
          </a:xfr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400"/>
              </a:spcAft>
              <a:buNone/>
              <a:defRPr sz="1400" b="1"/>
            </a:lvl1pPr>
            <a:lvl2pPr marL="0" indent="0" algn="ctr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b="0"/>
            </a:lvl2pPr>
            <a:lvl3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9" name="Bildplatzhalter Mitte links">
            <a:extLst>
              <a:ext uri="{FF2B5EF4-FFF2-40B4-BE49-F238E27FC236}">
                <a16:creationId xmlns:a16="http://schemas.microsoft.com/office/drawing/2014/main" id="{18206EF0-B802-42C6-8BB5-34027E07157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15475" y="1979724"/>
            <a:ext cx="1944000" cy="28800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	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23" name="Text Mitte links">
            <a:extLst>
              <a:ext uri="{FF2B5EF4-FFF2-40B4-BE49-F238E27FC236}">
                <a16:creationId xmlns:a16="http://schemas.microsoft.com/office/drawing/2014/main" id="{0B2F9FB8-8AB8-4E96-ABE7-0C4247567E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17998" y="4932052"/>
            <a:ext cx="1941513" cy="1008062"/>
          </a:xfr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400"/>
              </a:spcAft>
              <a:buNone/>
              <a:defRPr sz="1400" b="1"/>
            </a:lvl1pPr>
            <a:lvl2pPr marL="0" indent="0" algn="ctr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b="0"/>
            </a:lvl2pPr>
            <a:lvl3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10" name="Bildplatzhalter Mitte rechts">
            <a:extLst>
              <a:ext uri="{FF2B5EF4-FFF2-40B4-BE49-F238E27FC236}">
                <a16:creationId xmlns:a16="http://schemas.microsoft.com/office/drawing/2014/main" id="{1D949D97-6B29-43E2-8A5F-2ED7B0CD5E1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435935" y="1979724"/>
            <a:ext cx="1944000" cy="28800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	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24" name="Text Mitte rechts">
            <a:extLst>
              <a:ext uri="{FF2B5EF4-FFF2-40B4-BE49-F238E27FC236}">
                <a16:creationId xmlns:a16="http://schemas.microsoft.com/office/drawing/2014/main" id="{DD5FD5DC-118D-47EF-8EA2-5AC38A0647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39121" y="4931741"/>
            <a:ext cx="1941513" cy="1008062"/>
          </a:xfr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400"/>
              </a:spcAft>
              <a:buNone/>
              <a:defRPr sz="1400" b="1"/>
            </a:lvl1pPr>
            <a:lvl2pPr marL="0" indent="0" algn="ctr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b="0"/>
            </a:lvl2pPr>
            <a:lvl3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11" name="Bildplatzhalter rechts">
            <a:extLst>
              <a:ext uri="{FF2B5EF4-FFF2-40B4-BE49-F238E27FC236}">
                <a16:creationId xmlns:a16="http://schemas.microsoft.com/office/drawing/2014/main" id="{A047540E-61A5-4F27-A491-0F9E02E277D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56395" y="1979724"/>
            <a:ext cx="1944000" cy="2880000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	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25" name="Text rechts">
            <a:extLst>
              <a:ext uri="{FF2B5EF4-FFF2-40B4-BE49-F238E27FC236}">
                <a16:creationId xmlns:a16="http://schemas.microsoft.com/office/drawing/2014/main" id="{D79B92A2-8E34-4B12-AD4F-4D43DEF6CA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60244" y="4931430"/>
            <a:ext cx="1941513" cy="1008062"/>
          </a:xfr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400"/>
              </a:spcAft>
              <a:buNone/>
              <a:defRPr sz="1400" b="1"/>
            </a:lvl1pPr>
            <a:lvl2pPr marL="0" indent="0" algn="ctr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b="0"/>
            </a:lvl2pPr>
            <a:lvl3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400"/>
              </a:spcAft>
              <a:buNone/>
              <a:defRPr sz="10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10B0B06-5653-4F5A-BBCB-D4BE1E7235D1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 rot="10800000">
            <a:off x="11087178" y="5543712"/>
            <a:ext cx="792085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FCB8472-76DC-4B20-8824-BB70CD0C0A4C}"/>
              </a:ext>
            </a:extLst>
          </p:cNvPr>
          <p:cNvSpPr/>
          <p:nvPr/>
        </p:nvSpPr>
        <p:spPr bwMode="gray">
          <a:xfrm rot="10800000">
            <a:off x="10295093" y="5543713"/>
            <a:ext cx="792085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68242E-50F9-4244-B4BA-556C25D9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313EDF-26CE-4FD0-AEBC-0D74828090DD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 rot="16200000">
            <a:off x="11664275" y="5184088"/>
            <a:ext cx="720080" cy="144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F6D6AE72-44E9-4F00-B4F3-DBB30C2DE23A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 rot="16200000">
            <a:off x="10457858" y="3077854"/>
            <a:ext cx="3132348" cy="144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5E2337D-C8BD-4D09-AF34-E676AE14E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011" y="971684"/>
            <a:ext cx="9432000" cy="611996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 dirty="0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78201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p15="http://schemas.microsoft.com/office/powerpoint/2012/main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xit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2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tarbeiterprofil | lang |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Datumsplatzhalter 320">
            <a:extLst>
              <a:ext uri="{FF2B5EF4-FFF2-40B4-BE49-F238E27FC236}">
                <a16:creationId xmlns:a16="http://schemas.microsoft.com/office/drawing/2014/main" id="{46595131-8E39-4766-B099-A318A8C14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22" name="Fußzeilenplatzhalter 321">
            <a:extLst>
              <a:ext uri="{FF2B5EF4-FFF2-40B4-BE49-F238E27FC236}">
                <a16:creationId xmlns:a16="http://schemas.microsoft.com/office/drawing/2014/main" id="{F580B053-B44E-4F9F-80F8-E3EDD807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323" name="Foliennummernplatzhalter 322">
            <a:extLst>
              <a:ext uri="{FF2B5EF4-FFF2-40B4-BE49-F238E27FC236}">
                <a16:creationId xmlns:a16="http://schemas.microsoft.com/office/drawing/2014/main" id="{F29CA1A6-62F8-46F6-9581-D08298CB9A9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2" name="Vorname Nachname">
            <a:extLst>
              <a:ext uri="{FF2B5EF4-FFF2-40B4-BE49-F238E27FC236}">
                <a16:creationId xmlns:a16="http://schemas.microsoft.com/office/drawing/2014/main" id="{800DF220-372F-4994-AED3-3776E2F88F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011" y="3743920"/>
            <a:ext cx="2412060" cy="955432"/>
          </a:xfrm>
        </p:spPr>
        <p:txBody>
          <a:bodyPr lIns="18000" anchor="b"/>
          <a:lstStyle>
            <a:lvl1pPr>
              <a:defRPr sz="2000"/>
            </a:lvl1pPr>
          </a:lstStyle>
          <a:p>
            <a:r>
              <a:rPr lang="de-DE" dirty="0"/>
              <a:t>Name Nachname</a:t>
            </a:r>
          </a:p>
        </p:txBody>
      </p:sp>
      <p:sp>
        <p:nvSpPr>
          <p:cNvPr id="16" name="Position">
            <a:extLst>
              <a:ext uri="{FF2B5EF4-FFF2-40B4-BE49-F238E27FC236}">
                <a16:creationId xmlns:a16="http://schemas.microsoft.com/office/drawing/2014/main" id="{0B74B02A-0DAC-4DB6-8A87-42D3A7EB47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0" y="4756794"/>
            <a:ext cx="2412563" cy="288000"/>
          </a:xfrm>
        </p:spPr>
        <p:txBody>
          <a:bodyPr lIns="21600"/>
          <a:lstStyle>
            <a:lvl1pPr marL="0" indent="0">
              <a:buFont typeface="Arial" panose="020B0604020202020204" pitchFamily="34" charset="0"/>
              <a:buNone/>
              <a:defRPr sz="1600" b="1"/>
            </a:lvl1pPr>
            <a:lvl2pPr marL="0" indent="0">
              <a:buFont typeface="Arial" panose="020B0604020202020204" pitchFamily="34" charset="0"/>
              <a:buNone/>
              <a:defRPr sz="1600" b="1"/>
            </a:lvl2pPr>
            <a:lvl3pPr marL="0" indent="0">
              <a:buNone/>
              <a:defRPr sz="1600" b="1"/>
            </a:lvl3pPr>
            <a:lvl4pPr marL="0" indent="0">
              <a:buNone/>
              <a:defRPr sz="1600" b="1"/>
            </a:lvl4pPr>
            <a:lvl5pPr marL="0" indent="0">
              <a:buNone/>
              <a:defRPr sz="1600" b="1"/>
            </a:lvl5pPr>
            <a:lvl6pPr marL="0" indent="0">
              <a:buNone/>
              <a:defRPr sz="1600" b="1"/>
            </a:lvl6pPr>
            <a:lvl7pPr marL="0" indent="0">
              <a:buNone/>
              <a:defRPr sz="1600" b="1"/>
            </a:lvl7pPr>
            <a:lvl8pPr marL="0" indent="0">
              <a:buNone/>
              <a:defRPr sz="1600" b="1"/>
            </a:lvl8pPr>
            <a:lvl9pPr marL="0" indent="0">
              <a:buNone/>
              <a:defRPr sz="1600" b="1"/>
            </a:lvl9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1" name="Bildplatzhalter">
            <a:extLst>
              <a:ext uri="{FF2B5EF4-FFF2-40B4-BE49-F238E27FC236}">
                <a16:creationId xmlns:a16="http://schemas.microsoft.com/office/drawing/2014/main" id="{9A9AAFB4-2BEC-4707-851A-AE833DD29A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95013" y="287339"/>
            <a:ext cx="2376762" cy="3384574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13" name="Berufserfahrung">
            <a:extLst>
              <a:ext uri="{FF2B5EF4-FFF2-40B4-BE49-F238E27FC236}">
                <a16:creationId xmlns:a16="http://schemas.microsoft.com/office/drawing/2014/main" id="{2B6EA209-BBF2-403F-B72C-3C7E12F7624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9011" y="5328096"/>
            <a:ext cx="2412764" cy="612000"/>
          </a:xfrm>
        </p:spPr>
        <p:txBody>
          <a:bodyPr lIns="25200" anchor="t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/>
            </a:lvl2pPr>
            <a:lvl3pPr marL="0" indent="0">
              <a:spcBef>
                <a:spcPts val="0"/>
              </a:spcBef>
              <a:buNone/>
              <a:defRPr sz="1400" b="0"/>
            </a:lvl3pPr>
            <a:lvl4pPr marL="0" indent="0">
              <a:spcBef>
                <a:spcPts val="0"/>
              </a:spcBef>
              <a:buNone/>
              <a:defRPr sz="1400" b="0"/>
            </a:lvl4pPr>
            <a:lvl5pPr marL="0" indent="0">
              <a:spcBef>
                <a:spcPts val="0"/>
              </a:spcBef>
              <a:buNone/>
              <a:defRPr sz="1400" b="0"/>
            </a:lvl5pPr>
            <a:lvl6pPr marL="0" indent="0">
              <a:spcBef>
                <a:spcPts val="0"/>
              </a:spcBef>
              <a:buNone/>
              <a:defRPr sz="1400" b="0"/>
            </a:lvl6pPr>
            <a:lvl7pPr marL="0" indent="0">
              <a:spcBef>
                <a:spcPts val="0"/>
              </a:spcBef>
              <a:buNone/>
              <a:defRPr sz="1400" b="0"/>
            </a:lvl7pPr>
            <a:lvl8pPr marL="0" indent="0">
              <a:spcBef>
                <a:spcPts val="0"/>
              </a:spcBef>
              <a:buNone/>
              <a:defRPr sz="1400" b="0"/>
            </a:lvl8pPr>
            <a:lvl9pPr marL="0" indent="0">
              <a:spcBef>
                <a:spcPts val="0"/>
              </a:spcBef>
              <a:buNone/>
              <a:defRPr sz="1400" b="0"/>
            </a:lvl9pPr>
          </a:lstStyle>
          <a:p>
            <a:pPr lvl="0"/>
            <a:r>
              <a:rPr lang="de-DE" dirty="0"/>
              <a:t>Berufserfahrung</a:t>
            </a:r>
          </a:p>
        </p:txBody>
      </p:sp>
      <p:sp>
        <p:nvSpPr>
          <p:cNvPr id="17" name="Textplatzhalter">
            <a:extLst>
              <a:ext uri="{FF2B5EF4-FFF2-40B4-BE49-F238E27FC236}">
                <a16:creationId xmlns:a16="http://schemas.microsoft.com/office/drawing/2014/main" id="{99DE39D2-D77D-49E5-ADD6-7CB819FE4BE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7063" y="792001"/>
            <a:ext cx="7921140" cy="5147712"/>
          </a:xfrm>
        </p:spPr>
        <p:txBody>
          <a:bodyPr numCol="1" spcCol="396000"/>
          <a:lstStyle>
            <a:lvl1pPr marL="144000" indent="-144000">
              <a:defRPr sz="1200"/>
            </a:lvl1pPr>
            <a:lvl2pPr>
              <a:defRPr sz="1400" b="1"/>
            </a:lvl2pPr>
            <a:lvl3pPr marL="288000" indent="-144000"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54425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tarbeiterprofil | lang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Datumsplatzhalter 320">
            <a:extLst>
              <a:ext uri="{FF2B5EF4-FFF2-40B4-BE49-F238E27FC236}">
                <a16:creationId xmlns:a16="http://schemas.microsoft.com/office/drawing/2014/main" id="{46595131-8E39-4766-B099-A318A8C14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22" name="Fußzeilenplatzhalter 321">
            <a:extLst>
              <a:ext uri="{FF2B5EF4-FFF2-40B4-BE49-F238E27FC236}">
                <a16:creationId xmlns:a16="http://schemas.microsoft.com/office/drawing/2014/main" id="{F580B053-B44E-4F9F-80F8-E3EDD807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323" name="Foliennummernplatzhalter 322">
            <a:extLst>
              <a:ext uri="{FF2B5EF4-FFF2-40B4-BE49-F238E27FC236}">
                <a16:creationId xmlns:a16="http://schemas.microsoft.com/office/drawing/2014/main" id="{F29CA1A6-62F8-46F6-9581-D08298CB9A9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4" name="Vorname Nachname">
            <a:extLst>
              <a:ext uri="{FF2B5EF4-FFF2-40B4-BE49-F238E27FC236}">
                <a16:creationId xmlns:a16="http://schemas.microsoft.com/office/drawing/2014/main" id="{4B09D0D7-3D50-4901-9A4E-906E7D1A41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011" y="3743920"/>
            <a:ext cx="2412764" cy="955432"/>
          </a:xfrm>
        </p:spPr>
        <p:txBody>
          <a:bodyPr lIns="18000" anchor="b"/>
          <a:lstStyle>
            <a:lvl1pPr>
              <a:defRPr sz="2000"/>
            </a:lvl1pPr>
          </a:lstStyle>
          <a:p>
            <a:r>
              <a:rPr lang="de-DE" dirty="0"/>
              <a:t>Vorname Nachname</a:t>
            </a:r>
          </a:p>
        </p:txBody>
      </p:sp>
      <p:sp>
        <p:nvSpPr>
          <p:cNvPr id="15" name="Position">
            <a:extLst>
              <a:ext uri="{FF2B5EF4-FFF2-40B4-BE49-F238E27FC236}">
                <a16:creationId xmlns:a16="http://schemas.microsoft.com/office/drawing/2014/main" id="{BE761382-E221-4201-BDFB-6F9534683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4756794"/>
            <a:ext cx="2413268" cy="288000"/>
          </a:xfrm>
        </p:spPr>
        <p:txBody>
          <a:bodyPr lIns="21600"/>
          <a:lstStyle>
            <a:lvl1pPr marL="0" indent="0">
              <a:buFont typeface="Arial" panose="020B0604020202020204" pitchFamily="34" charset="0"/>
              <a:buNone/>
              <a:defRPr sz="1600" b="1"/>
            </a:lvl1pPr>
            <a:lvl2pPr marL="0" indent="0">
              <a:buFont typeface="Arial" panose="020B0604020202020204" pitchFamily="34" charset="0"/>
              <a:buNone/>
              <a:defRPr sz="1600" b="1"/>
            </a:lvl2pPr>
            <a:lvl3pPr marL="0" indent="0">
              <a:buNone/>
              <a:defRPr sz="1600" b="1"/>
            </a:lvl3pPr>
            <a:lvl4pPr marL="0" indent="0">
              <a:buNone/>
              <a:defRPr sz="1600" b="1"/>
            </a:lvl4pPr>
            <a:lvl5pPr marL="0" indent="0">
              <a:buNone/>
              <a:defRPr sz="1600" b="1"/>
            </a:lvl5pPr>
            <a:lvl6pPr marL="0" indent="0">
              <a:buNone/>
              <a:defRPr sz="1600" b="1"/>
            </a:lvl6pPr>
            <a:lvl7pPr marL="0" indent="0">
              <a:buNone/>
              <a:defRPr sz="1600" b="1"/>
            </a:lvl7pPr>
            <a:lvl8pPr marL="0" indent="0">
              <a:buNone/>
              <a:defRPr sz="1600" b="1"/>
            </a:lvl8pPr>
            <a:lvl9pPr marL="0" indent="0">
              <a:buNone/>
              <a:defRPr sz="1600" b="1"/>
            </a:lvl9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8" name="Berufserfahrung">
            <a:extLst>
              <a:ext uri="{FF2B5EF4-FFF2-40B4-BE49-F238E27FC236}">
                <a16:creationId xmlns:a16="http://schemas.microsoft.com/office/drawing/2014/main" id="{B13B1911-69B2-4239-A1F4-B4E43A28CD0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9010" y="5328096"/>
            <a:ext cx="2413469" cy="612000"/>
          </a:xfrm>
        </p:spPr>
        <p:txBody>
          <a:bodyPr lIns="25200" anchor="t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/>
            </a:lvl2pPr>
            <a:lvl3pPr marL="0" indent="0">
              <a:spcBef>
                <a:spcPts val="0"/>
              </a:spcBef>
              <a:buNone/>
              <a:defRPr sz="1400" b="0"/>
            </a:lvl3pPr>
            <a:lvl4pPr marL="0" indent="0">
              <a:spcBef>
                <a:spcPts val="0"/>
              </a:spcBef>
              <a:buNone/>
              <a:defRPr sz="1400" b="0"/>
            </a:lvl4pPr>
            <a:lvl5pPr marL="0" indent="0">
              <a:spcBef>
                <a:spcPts val="0"/>
              </a:spcBef>
              <a:buNone/>
              <a:defRPr sz="1400" b="0"/>
            </a:lvl5pPr>
            <a:lvl6pPr marL="0" indent="0">
              <a:spcBef>
                <a:spcPts val="0"/>
              </a:spcBef>
              <a:buNone/>
              <a:defRPr sz="1400" b="0"/>
            </a:lvl6pPr>
            <a:lvl7pPr marL="0" indent="0">
              <a:spcBef>
                <a:spcPts val="0"/>
              </a:spcBef>
              <a:buNone/>
              <a:defRPr sz="1400" b="0"/>
            </a:lvl7pPr>
            <a:lvl8pPr marL="0" indent="0">
              <a:spcBef>
                <a:spcPts val="0"/>
              </a:spcBef>
              <a:buNone/>
              <a:defRPr sz="1400" b="0"/>
            </a:lvl8pPr>
            <a:lvl9pPr marL="0" indent="0">
              <a:spcBef>
                <a:spcPts val="0"/>
              </a:spcBef>
              <a:buNone/>
              <a:defRPr sz="1400" b="0"/>
            </a:lvl9pPr>
          </a:lstStyle>
          <a:p>
            <a:pPr lvl="0"/>
            <a:r>
              <a:rPr lang="de-DE" dirty="0"/>
              <a:t>Berufserfahrung</a:t>
            </a:r>
          </a:p>
        </p:txBody>
      </p:sp>
      <p:sp>
        <p:nvSpPr>
          <p:cNvPr id="17" name="Textplatzhalter">
            <a:extLst>
              <a:ext uri="{FF2B5EF4-FFF2-40B4-BE49-F238E27FC236}">
                <a16:creationId xmlns:a16="http://schemas.microsoft.com/office/drawing/2014/main" id="{99DE39D2-D77D-49E5-ADD6-7CB819FE4BE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7063" y="792001"/>
            <a:ext cx="7921140" cy="5147712"/>
          </a:xfrm>
        </p:spPr>
        <p:txBody>
          <a:bodyPr numCol="2" spcCol="396000"/>
          <a:lstStyle>
            <a:lvl1pPr marL="144000" indent="-144000">
              <a:defRPr sz="1200"/>
            </a:lvl1pPr>
            <a:lvl2pPr>
              <a:defRPr sz="1400" b="1"/>
            </a:lvl2pPr>
            <a:lvl3pPr marL="288000" indent="-144000"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Bildplatzhalter">
            <a:extLst>
              <a:ext uri="{FF2B5EF4-FFF2-40B4-BE49-F238E27FC236}">
                <a16:creationId xmlns:a16="http://schemas.microsoft.com/office/drawing/2014/main" id="{B1B4F242-3148-41BF-A9E4-37EB8F5305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95013" y="287339"/>
            <a:ext cx="2376762" cy="3384574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</p:spTree>
    <p:extLst>
      <p:ext uri="{BB962C8B-B14F-4D97-AF65-F5344CB8AC3E}">
        <p14:creationId xmlns:p14="http://schemas.microsoft.com/office/powerpoint/2010/main" val="2089848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tarbeiterprofil | lang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Datumsplatzhalter 320">
            <a:extLst>
              <a:ext uri="{FF2B5EF4-FFF2-40B4-BE49-F238E27FC236}">
                <a16:creationId xmlns:a16="http://schemas.microsoft.com/office/drawing/2014/main" id="{46595131-8E39-4766-B099-A318A8C14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22" name="Fußzeilenplatzhalter 321">
            <a:extLst>
              <a:ext uri="{FF2B5EF4-FFF2-40B4-BE49-F238E27FC236}">
                <a16:creationId xmlns:a16="http://schemas.microsoft.com/office/drawing/2014/main" id="{F580B053-B44E-4F9F-80F8-E3EDD807D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323" name="Foliennummernplatzhalter 322">
            <a:extLst>
              <a:ext uri="{FF2B5EF4-FFF2-40B4-BE49-F238E27FC236}">
                <a16:creationId xmlns:a16="http://schemas.microsoft.com/office/drawing/2014/main" id="{F29CA1A6-62F8-46F6-9581-D08298CB9A9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9" name="Vorname Nachname">
            <a:extLst>
              <a:ext uri="{FF2B5EF4-FFF2-40B4-BE49-F238E27FC236}">
                <a16:creationId xmlns:a16="http://schemas.microsoft.com/office/drawing/2014/main" id="{4ED24CF0-CF71-477A-94C7-058CB0BC2A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011" y="3743920"/>
            <a:ext cx="2412764" cy="955432"/>
          </a:xfrm>
        </p:spPr>
        <p:txBody>
          <a:bodyPr lIns="18000" anchor="b"/>
          <a:lstStyle>
            <a:lvl1pPr>
              <a:defRPr sz="2000"/>
            </a:lvl1pPr>
          </a:lstStyle>
          <a:p>
            <a:r>
              <a:rPr lang="de-DE" dirty="0"/>
              <a:t>Vorname Nachname</a:t>
            </a:r>
          </a:p>
        </p:txBody>
      </p:sp>
      <p:sp>
        <p:nvSpPr>
          <p:cNvPr id="20" name="Position">
            <a:extLst>
              <a:ext uri="{FF2B5EF4-FFF2-40B4-BE49-F238E27FC236}">
                <a16:creationId xmlns:a16="http://schemas.microsoft.com/office/drawing/2014/main" id="{74836490-ED75-401D-A563-FB98D66FD7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011" y="4756794"/>
            <a:ext cx="2413268" cy="288000"/>
          </a:xfrm>
        </p:spPr>
        <p:txBody>
          <a:bodyPr lIns="21600"/>
          <a:lstStyle>
            <a:lvl1pPr marL="0" indent="0">
              <a:buFont typeface="Arial" panose="020B0604020202020204" pitchFamily="34" charset="0"/>
              <a:buNone/>
              <a:defRPr sz="1600" b="1"/>
            </a:lvl1pPr>
            <a:lvl2pPr marL="0" indent="0">
              <a:buFont typeface="Arial" panose="020B0604020202020204" pitchFamily="34" charset="0"/>
              <a:buNone/>
              <a:defRPr sz="1600" b="1"/>
            </a:lvl2pPr>
            <a:lvl3pPr marL="0" indent="0">
              <a:buNone/>
              <a:defRPr sz="1600" b="1"/>
            </a:lvl3pPr>
            <a:lvl4pPr marL="0" indent="0">
              <a:buNone/>
              <a:defRPr sz="1600" b="1"/>
            </a:lvl4pPr>
            <a:lvl5pPr marL="0" indent="0">
              <a:buNone/>
              <a:defRPr sz="1600" b="1"/>
            </a:lvl5pPr>
            <a:lvl6pPr marL="0" indent="0">
              <a:buNone/>
              <a:defRPr sz="1600" b="1"/>
            </a:lvl6pPr>
            <a:lvl7pPr marL="0" indent="0">
              <a:buNone/>
              <a:defRPr sz="1600" b="1"/>
            </a:lvl7pPr>
            <a:lvl8pPr marL="0" indent="0">
              <a:buNone/>
              <a:defRPr sz="1600" b="1"/>
            </a:lvl8pPr>
            <a:lvl9pPr marL="0" indent="0">
              <a:buNone/>
              <a:defRPr sz="1600" b="1"/>
            </a:lvl9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1" name="Berufserfahrung">
            <a:extLst>
              <a:ext uri="{FF2B5EF4-FFF2-40B4-BE49-F238E27FC236}">
                <a16:creationId xmlns:a16="http://schemas.microsoft.com/office/drawing/2014/main" id="{C70FBDDF-5E87-4FBA-977F-5028E8049E3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9010" y="5328096"/>
            <a:ext cx="2413469" cy="612000"/>
          </a:xfrm>
        </p:spPr>
        <p:txBody>
          <a:bodyPr lIns="25200" anchor="t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/>
            </a:lvl2pPr>
            <a:lvl3pPr marL="0" indent="0">
              <a:spcBef>
                <a:spcPts val="0"/>
              </a:spcBef>
              <a:buNone/>
              <a:defRPr sz="1400" b="0"/>
            </a:lvl3pPr>
            <a:lvl4pPr marL="0" indent="0">
              <a:spcBef>
                <a:spcPts val="0"/>
              </a:spcBef>
              <a:buNone/>
              <a:defRPr sz="1400" b="0"/>
            </a:lvl4pPr>
            <a:lvl5pPr marL="0" indent="0">
              <a:spcBef>
                <a:spcPts val="0"/>
              </a:spcBef>
              <a:buNone/>
              <a:defRPr sz="1400" b="0"/>
            </a:lvl5pPr>
            <a:lvl6pPr marL="0" indent="0">
              <a:spcBef>
                <a:spcPts val="0"/>
              </a:spcBef>
              <a:buNone/>
              <a:defRPr sz="1400" b="0"/>
            </a:lvl6pPr>
            <a:lvl7pPr marL="0" indent="0">
              <a:spcBef>
                <a:spcPts val="0"/>
              </a:spcBef>
              <a:buNone/>
              <a:defRPr sz="1400" b="0"/>
            </a:lvl7pPr>
            <a:lvl8pPr marL="0" indent="0">
              <a:spcBef>
                <a:spcPts val="0"/>
              </a:spcBef>
              <a:buNone/>
              <a:defRPr sz="1400" b="0"/>
            </a:lvl8pPr>
            <a:lvl9pPr marL="0" indent="0">
              <a:spcBef>
                <a:spcPts val="0"/>
              </a:spcBef>
              <a:buNone/>
              <a:defRPr sz="1400" b="0"/>
            </a:lvl9pPr>
          </a:lstStyle>
          <a:p>
            <a:pPr lvl="0"/>
            <a:r>
              <a:rPr lang="de-DE" dirty="0"/>
              <a:t>Berufserfahrung</a:t>
            </a:r>
          </a:p>
        </p:txBody>
      </p:sp>
      <p:sp>
        <p:nvSpPr>
          <p:cNvPr id="17" name="Textplatzhalter">
            <a:extLst>
              <a:ext uri="{FF2B5EF4-FFF2-40B4-BE49-F238E27FC236}">
                <a16:creationId xmlns:a16="http://schemas.microsoft.com/office/drawing/2014/main" id="{99DE39D2-D77D-49E5-ADD6-7CB819FE4BE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8340" y="792001"/>
            <a:ext cx="7920347" cy="5147712"/>
          </a:xfrm>
        </p:spPr>
        <p:txBody>
          <a:bodyPr numCol="3" spcCol="396000"/>
          <a:lstStyle>
            <a:lvl1pPr marL="144000" indent="-144000">
              <a:defRPr sz="1200"/>
            </a:lvl1pPr>
            <a:lvl2pPr>
              <a:defRPr sz="1400" b="1"/>
            </a:lvl2pPr>
            <a:lvl3pPr marL="288000" indent="-144000"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8" name="Bildplatzhalter">
            <a:extLst>
              <a:ext uri="{FF2B5EF4-FFF2-40B4-BE49-F238E27FC236}">
                <a16:creationId xmlns:a16="http://schemas.microsoft.com/office/drawing/2014/main" id="{F9329A11-410B-4B0D-BFCC-E8BDA1879D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95013" y="287339"/>
            <a:ext cx="2376762" cy="3384574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</p:spTree>
    <p:extLst>
      <p:ext uri="{BB962C8B-B14F-4D97-AF65-F5344CB8AC3E}">
        <p14:creationId xmlns:p14="http://schemas.microsoft.com/office/powerpoint/2010/main" val="383692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ntakt | 2 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BC0F008-B148-4CDC-BEBE-733B0BF386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0800000">
            <a:off x="1" y="4751713"/>
            <a:ext cx="1584170" cy="1584000"/>
            <a:chOff x="0" y="-2559"/>
            <a:chExt cx="1584170" cy="1584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2B73B1F2-15F1-4785-B0F3-3A4759CDBB17}"/>
                </a:ext>
              </a:extLst>
            </p:cNvPr>
            <p:cNvSpPr/>
            <p:nvPr/>
          </p:nvSpPr>
          <p:spPr bwMode="gray">
            <a:xfrm>
              <a:off x="792085" y="-2559"/>
              <a:ext cx="792085" cy="792000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CC096465-1F04-40C6-9D32-7FA720910860}"/>
                </a:ext>
              </a:extLst>
            </p:cNvPr>
            <p:cNvSpPr/>
            <p:nvPr/>
          </p:nvSpPr>
          <p:spPr bwMode="gray">
            <a:xfrm>
              <a:off x="0" y="789441"/>
              <a:ext cx="792085" cy="792000"/>
            </a:xfrm>
            <a:prstGeom prst="rect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4" name="Rechteck 13">
            <a:extLst>
              <a:ext uri="{FF2B5EF4-FFF2-40B4-BE49-F238E27FC236}">
                <a16:creationId xmlns:a16="http://schemas.microsoft.com/office/drawing/2014/main" id="{2F069384-07CB-41D9-A2F7-BA18E361BA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 rot="10800000">
            <a:off x="-1029" y="3167856"/>
            <a:ext cx="792085" cy="828092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ABC52B9-C6B7-44A7-85A2-E0E40CAE6B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609600" y="519248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spcBef>
                <a:spcPts val="60"/>
              </a:spcBef>
              <a:buSzPct val="100000"/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C8B928F-68A0-4CB8-A8D5-B29AC1109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 rot="10800000">
            <a:off x="-1028" y="3960032"/>
            <a:ext cx="792085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DD0685-37FA-45BE-B345-4937B14C0358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E4987A5F-9324-4476-9552-3F11A8919B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Ihr Projekt</a:t>
            </a:r>
          </a:p>
        </p:txBody>
      </p:sp>
      <p:sp>
        <p:nvSpPr>
          <p:cNvPr id="41" name="Bildplatzhalter links">
            <a:extLst>
              <a:ext uri="{FF2B5EF4-FFF2-40B4-BE49-F238E27FC236}">
                <a16:creationId xmlns:a16="http://schemas.microsoft.com/office/drawing/2014/main" id="{80A5D1A9-0C30-41DB-B07D-98BFC9F3C8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103688" y="1584326"/>
            <a:ext cx="3276780" cy="1979354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26" name="Vorname Nachname links">
            <a:extLst>
              <a:ext uri="{FF2B5EF4-FFF2-40B4-BE49-F238E27FC236}">
                <a16:creationId xmlns:a16="http://schemas.microsoft.com/office/drawing/2014/main" id="{21E117AE-F1C7-40F1-81BB-CEA84C20AFE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04040" y="3671660"/>
            <a:ext cx="3276780" cy="504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9" name="Position links">
            <a:extLst>
              <a:ext uri="{FF2B5EF4-FFF2-40B4-BE49-F238E27FC236}">
                <a16:creationId xmlns:a16="http://schemas.microsoft.com/office/drawing/2014/main" id="{08D44756-E739-4EC4-8FD0-0D8B749087B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102659" y="4230030"/>
            <a:ext cx="3276780" cy="43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Position | Unternehmen</a:t>
            </a:r>
          </a:p>
        </p:txBody>
      </p:sp>
      <p:sp>
        <p:nvSpPr>
          <p:cNvPr id="20" name="Textplatzhalter links">
            <a:extLst>
              <a:ext uri="{FF2B5EF4-FFF2-40B4-BE49-F238E27FC236}">
                <a16:creationId xmlns:a16="http://schemas.microsoft.com/office/drawing/2014/main" id="{00FC9088-7820-4A70-86EA-F0BDA916261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103688" y="4715776"/>
            <a:ext cx="3276780" cy="1224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219075" algn="l"/>
                <a:tab pos="3451225" algn="r"/>
                <a:tab pos="3887788" algn="l"/>
                <a:tab pos="7339013" algn="r"/>
                <a:tab pos="7775575" algn="l"/>
                <a:tab pos="11228388" algn="r"/>
              </a:tabLst>
              <a:defRPr sz="1200" b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/>
            </a:lvl2pPr>
            <a:lvl3pPr marL="0" indent="0">
              <a:spcBef>
                <a:spcPts val="0"/>
              </a:spcBef>
              <a:buNone/>
              <a:defRPr sz="1200" b="0"/>
            </a:lvl3pPr>
            <a:lvl4pPr marL="0" indent="0">
              <a:spcBef>
                <a:spcPts val="0"/>
              </a:spcBef>
              <a:buNone/>
              <a:defRPr sz="1200" b="0"/>
            </a:lvl4pPr>
            <a:lvl5pPr marL="0" indent="0">
              <a:spcBef>
                <a:spcPts val="0"/>
              </a:spcBef>
              <a:buNone/>
              <a:defRPr sz="1200" b="0"/>
            </a:lvl5pPr>
            <a:lvl6pPr marL="0" indent="0">
              <a:spcBef>
                <a:spcPts val="0"/>
              </a:spcBef>
              <a:buNone/>
              <a:defRPr sz="1200" b="0"/>
            </a:lvl6pPr>
            <a:lvl7pPr marL="0" indent="0">
              <a:spcBef>
                <a:spcPts val="0"/>
              </a:spcBef>
              <a:buNone/>
              <a:defRPr sz="1200" b="0"/>
            </a:lvl7pPr>
            <a:lvl8pPr marL="0" indent="0">
              <a:spcBef>
                <a:spcPts val="0"/>
              </a:spcBef>
              <a:buNone/>
              <a:defRPr sz="1200" b="0"/>
            </a:lvl8pPr>
            <a:lvl9pPr marL="0" indent="0">
              <a:spcBef>
                <a:spcPts val="0"/>
              </a:spcBef>
              <a:buNone/>
              <a:defRPr sz="1200" b="0"/>
            </a:lvl9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30" name="Bildplatzhalter rechts">
            <a:extLst>
              <a:ext uri="{FF2B5EF4-FFF2-40B4-BE49-F238E27FC236}">
                <a16:creationId xmlns:a16="http://schemas.microsoft.com/office/drawing/2014/main" id="{F266423A-B128-43CE-8732-D78FE70089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775575" y="1584326"/>
            <a:ext cx="3312276" cy="1979354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27" name="Vorname Nachname rechts">
            <a:extLst>
              <a:ext uri="{FF2B5EF4-FFF2-40B4-BE49-F238E27FC236}">
                <a16:creationId xmlns:a16="http://schemas.microsoft.com/office/drawing/2014/main" id="{10F19AB8-E7AD-4C3E-926A-E21DA6603F9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775927" y="3671912"/>
            <a:ext cx="3312276" cy="504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8" name="Position rechts">
            <a:extLst>
              <a:ext uri="{FF2B5EF4-FFF2-40B4-BE49-F238E27FC236}">
                <a16:creationId xmlns:a16="http://schemas.microsoft.com/office/drawing/2014/main" id="{04A7E7AE-24CC-4ADB-A931-AF8DEC94E16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774546" y="4230282"/>
            <a:ext cx="3312276" cy="43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Position | Unternehmen</a:t>
            </a:r>
          </a:p>
        </p:txBody>
      </p:sp>
      <p:sp>
        <p:nvSpPr>
          <p:cNvPr id="25" name="Textplatzhalter rechts">
            <a:extLst>
              <a:ext uri="{FF2B5EF4-FFF2-40B4-BE49-F238E27FC236}">
                <a16:creationId xmlns:a16="http://schemas.microsoft.com/office/drawing/2014/main" id="{6D417646-6C2A-430E-B4E6-0C6D324FEE1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775575" y="4716028"/>
            <a:ext cx="3312276" cy="1224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219075" algn="l"/>
                <a:tab pos="3451225" algn="r"/>
                <a:tab pos="3887788" algn="l"/>
                <a:tab pos="7339013" algn="r"/>
                <a:tab pos="7775575" algn="l"/>
                <a:tab pos="11228388" algn="r"/>
              </a:tabLst>
              <a:defRPr sz="1200" b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/>
            </a:lvl2pPr>
            <a:lvl3pPr marL="0" indent="0">
              <a:spcBef>
                <a:spcPts val="0"/>
              </a:spcBef>
              <a:buNone/>
              <a:defRPr sz="1200" b="0"/>
            </a:lvl3pPr>
            <a:lvl4pPr marL="0" indent="0">
              <a:spcBef>
                <a:spcPts val="0"/>
              </a:spcBef>
              <a:buNone/>
              <a:defRPr sz="1200" b="0"/>
            </a:lvl4pPr>
            <a:lvl5pPr marL="0" indent="0">
              <a:spcBef>
                <a:spcPts val="0"/>
              </a:spcBef>
              <a:buNone/>
              <a:defRPr sz="1200" b="0"/>
            </a:lvl5pPr>
            <a:lvl6pPr marL="0" indent="0">
              <a:spcBef>
                <a:spcPts val="0"/>
              </a:spcBef>
              <a:buNone/>
              <a:defRPr sz="1200" b="0"/>
            </a:lvl6pPr>
            <a:lvl7pPr marL="0" indent="0">
              <a:spcBef>
                <a:spcPts val="0"/>
              </a:spcBef>
              <a:buNone/>
              <a:defRPr sz="1200" b="0"/>
            </a:lvl7pPr>
            <a:lvl8pPr marL="0" indent="0">
              <a:spcBef>
                <a:spcPts val="0"/>
              </a:spcBef>
              <a:buNone/>
              <a:defRPr sz="1200" b="0"/>
            </a:lvl8pPr>
            <a:lvl9pPr marL="0" indent="0">
              <a:spcBef>
                <a:spcPts val="0"/>
              </a:spcBef>
              <a:buNone/>
              <a:defRPr sz="1200" b="0"/>
            </a:lvl9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62E0AC3-E572-4B4E-AD6C-81CB046797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F082B7F-5583-4583-A1A4-DBB3178E69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79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ntakt | 3 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BC0F008-B148-4CDC-BEBE-733B0BF386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10800000">
            <a:off x="1" y="4751713"/>
            <a:ext cx="1584170" cy="1584000"/>
            <a:chOff x="0" y="-2559"/>
            <a:chExt cx="1584170" cy="1584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2B73B1F2-15F1-4785-B0F3-3A4759CDBB17}"/>
                </a:ext>
              </a:extLst>
            </p:cNvPr>
            <p:cNvSpPr/>
            <p:nvPr/>
          </p:nvSpPr>
          <p:spPr bwMode="gray">
            <a:xfrm>
              <a:off x="792085" y="-2559"/>
              <a:ext cx="792085" cy="792000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CC096465-1F04-40C6-9D32-7FA720910860}"/>
                </a:ext>
              </a:extLst>
            </p:cNvPr>
            <p:cNvSpPr/>
            <p:nvPr/>
          </p:nvSpPr>
          <p:spPr bwMode="gray">
            <a:xfrm>
              <a:off x="0" y="789441"/>
              <a:ext cx="792085" cy="792000"/>
            </a:xfrm>
            <a:prstGeom prst="rect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4" name="Rechteck 13">
            <a:extLst>
              <a:ext uri="{FF2B5EF4-FFF2-40B4-BE49-F238E27FC236}">
                <a16:creationId xmlns:a16="http://schemas.microsoft.com/office/drawing/2014/main" id="{2F069384-07CB-41D9-A2F7-BA18E361BA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 rot="10800000">
            <a:off x="-1029" y="3167856"/>
            <a:ext cx="792085" cy="828092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ABC52B9-C6B7-44A7-85A2-E0E40CAE6B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609600" y="519248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spcBef>
                <a:spcPts val="60"/>
              </a:spcBef>
              <a:buSzPct val="100000"/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C8B928F-68A0-4CB8-A8D5-B29AC1109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 rot="10800000">
            <a:off x="-1028" y="3960032"/>
            <a:ext cx="792085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BDEA2C2-1880-417C-84E5-3E080EB9E1AD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1C1F8FBC-0477-4E3A-9B05-31DD20904B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Ihr Projekt</a:t>
            </a:r>
          </a:p>
        </p:txBody>
      </p:sp>
      <p:sp>
        <p:nvSpPr>
          <p:cNvPr id="40" name="Bildplatzhalter links">
            <a:extLst>
              <a:ext uri="{FF2B5EF4-FFF2-40B4-BE49-F238E27FC236}">
                <a16:creationId xmlns:a16="http://schemas.microsoft.com/office/drawing/2014/main" id="{4B5933E8-EC31-46FB-BEAE-2A5C53B839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731589" y="1584325"/>
            <a:ext cx="2520000" cy="1835849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21" name="Vorname Nachname links">
            <a:extLst>
              <a:ext uri="{FF2B5EF4-FFF2-40B4-BE49-F238E27FC236}">
                <a16:creationId xmlns:a16="http://schemas.microsoft.com/office/drawing/2014/main" id="{AA856265-DCBB-4792-8B0A-55E0859F464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31589" y="3527772"/>
            <a:ext cx="2520000" cy="504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2" name="Position links">
            <a:extLst>
              <a:ext uri="{FF2B5EF4-FFF2-40B4-BE49-F238E27FC236}">
                <a16:creationId xmlns:a16="http://schemas.microsoft.com/office/drawing/2014/main" id="{434D06A6-03D0-4020-B3D6-992FE6441DA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731589" y="4086142"/>
            <a:ext cx="2520000" cy="43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1200" b="1" i="0" u="none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Position | Unternehmen</a:t>
            </a:r>
          </a:p>
        </p:txBody>
      </p:sp>
      <p:sp>
        <p:nvSpPr>
          <p:cNvPr id="20" name="Text links">
            <a:extLst>
              <a:ext uri="{FF2B5EF4-FFF2-40B4-BE49-F238E27FC236}">
                <a16:creationId xmlns:a16="http://schemas.microsoft.com/office/drawing/2014/main" id="{F3D23A45-3D44-42DE-9ACF-B8DA0537E97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31589" y="4571888"/>
            <a:ext cx="2520000" cy="136853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219075" algn="l"/>
                <a:tab pos="3451225" algn="r"/>
                <a:tab pos="3887788" algn="l"/>
                <a:tab pos="7339013" algn="r"/>
                <a:tab pos="7775575" algn="l"/>
                <a:tab pos="11228388" algn="r"/>
              </a:tabLst>
              <a:defRPr sz="1200" b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/>
            </a:lvl2pPr>
            <a:lvl3pPr marL="0" indent="0">
              <a:spcBef>
                <a:spcPts val="0"/>
              </a:spcBef>
              <a:buNone/>
              <a:defRPr sz="1200" b="0"/>
            </a:lvl3pPr>
            <a:lvl4pPr marL="0" indent="0">
              <a:spcBef>
                <a:spcPts val="0"/>
              </a:spcBef>
              <a:buNone/>
              <a:defRPr sz="1200" b="0"/>
            </a:lvl4pPr>
            <a:lvl5pPr marL="0" indent="0">
              <a:spcBef>
                <a:spcPts val="0"/>
              </a:spcBef>
              <a:buNone/>
              <a:defRPr sz="1200" b="0"/>
            </a:lvl5pPr>
            <a:lvl6pPr marL="0" indent="0">
              <a:spcBef>
                <a:spcPts val="0"/>
              </a:spcBef>
              <a:buNone/>
              <a:defRPr sz="1200" b="0"/>
            </a:lvl6pPr>
            <a:lvl7pPr marL="0" indent="0">
              <a:spcBef>
                <a:spcPts val="0"/>
              </a:spcBef>
              <a:buNone/>
              <a:defRPr sz="1200" b="0"/>
            </a:lvl7pPr>
            <a:lvl8pPr marL="0" indent="0">
              <a:spcBef>
                <a:spcPts val="0"/>
              </a:spcBef>
              <a:buNone/>
              <a:defRPr sz="1200" b="0"/>
            </a:lvl8pPr>
            <a:lvl9pPr marL="0" indent="0">
              <a:spcBef>
                <a:spcPts val="0"/>
              </a:spcBef>
              <a:buNone/>
              <a:defRPr sz="1200" b="0"/>
            </a:lvl9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38" name="Bildplatzhalter mitte">
            <a:extLst>
              <a:ext uri="{FF2B5EF4-FFF2-40B4-BE49-F238E27FC236}">
                <a16:creationId xmlns:a16="http://schemas.microsoft.com/office/drawing/2014/main" id="{68ED7872-D0C3-4A65-BAF7-1734CE5A4A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5649896" y="1584325"/>
            <a:ext cx="2520000" cy="1835849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42" name="Vorname Nachname mitte">
            <a:extLst>
              <a:ext uri="{FF2B5EF4-FFF2-40B4-BE49-F238E27FC236}">
                <a16:creationId xmlns:a16="http://schemas.microsoft.com/office/drawing/2014/main" id="{935C76E1-DE0F-469B-B6D7-9810409590C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649896" y="3527772"/>
            <a:ext cx="2520000" cy="504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3" name="Position Mitte">
            <a:extLst>
              <a:ext uri="{FF2B5EF4-FFF2-40B4-BE49-F238E27FC236}">
                <a16:creationId xmlns:a16="http://schemas.microsoft.com/office/drawing/2014/main" id="{6CF81665-C3AE-4DAC-9580-A0CAAB0C4E5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649896" y="4086142"/>
            <a:ext cx="2520000" cy="43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8"/>
            <a:r>
              <a:rPr lang="de-DE" dirty="0"/>
              <a:t>Position | Unternehmen</a:t>
            </a:r>
          </a:p>
        </p:txBody>
      </p:sp>
      <p:sp>
        <p:nvSpPr>
          <p:cNvPr id="39" name="Text Mitte">
            <a:extLst>
              <a:ext uri="{FF2B5EF4-FFF2-40B4-BE49-F238E27FC236}">
                <a16:creationId xmlns:a16="http://schemas.microsoft.com/office/drawing/2014/main" id="{695507AB-FA3A-4982-8E15-7B1E7D11F2B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649896" y="4571888"/>
            <a:ext cx="2520000" cy="136853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219075" algn="l"/>
                <a:tab pos="3451225" algn="r"/>
                <a:tab pos="3887788" algn="l"/>
                <a:tab pos="7339013" algn="r"/>
                <a:tab pos="7775575" algn="l"/>
                <a:tab pos="11228388" algn="r"/>
              </a:tabLst>
              <a:defRPr sz="1200" b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/>
            </a:lvl2pPr>
            <a:lvl3pPr marL="0" indent="0">
              <a:spcBef>
                <a:spcPts val="0"/>
              </a:spcBef>
              <a:buNone/>
              <a:defRPr sz="1200" b="0"/>
            </a:lvl3pPr>
            <a:lvl4pPr marL="0" indent="0">
              <a:spcBef>
                <a:spcPts val="0"/>
              </a:spcBef>
              <a:buNone/>
              <a:defRPr sz="1200" b="0"/>
            </a:lvl4pPr>
            <a:lvl5pPr marL="0" indent="0">
              <a:spcBef>
                <a:spcPts val="0"/>
              </a:spcBef>
              <a:buNone/>
              <a:defRPr sz="1200" b="0"/>
            </a:lvl5pPr>
            <a:lvl6pPr marL="0" indent="0">
              <a:spcBef>
                <a:spcPts val="0"/>
              </a:spcBef>
              <a:buNone/>
              <a:defRPr sz="1200" b="0"/>
            </a:lvl6pPr>
            <a:lvl7pPr marL="0" indent="0">
              <a:spcBef>
                <a:spcPts val="0"/>
              </a:spcBef>
              <a:buNone/>
              <a:defRPr sz="1200" b="0"/>
            </a:lvl7pPr>
            <a:lvl8pPr marL="0" indent="0">
              <a:spcBef>
                <a:spcPts val="0"/>
              </a:spcBef>
              <a:buNone/>
              <a:defRPr sz="1200" b="0"/>
            </a:lvl8pPr>
            <a:lvl9pPr marL="0" indent="0">
              <a:spcBef>
                <a:spcPts val="0"/>
              </a:spcBef>
              <a:buNone/>
              <a:defRPr sz="1200" b="0"/>
            </a:lvl9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48" name="Bildplatzhalter rechts">
            <a:extLst>
              <a:ext uri="{FF2B5EF4-FFF2-40B4-BE49-F238E27FC236}">
                <a16:creationId xmlns:a16="http://schemas.microsoft.com/office/drawing/2014/main" id="{2D4B7444-49D2-4B40-B44B-68876C8077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568203" y="1584325"/>
            <a:ext cx="2520000" cy="1835849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50" name="Vorname Nachname rechts">
            <a:extLst>
              <a:ext uri="{FF2B5EF4-FFF2-40B4-BE49-F238E27FC236}">
                <a16:creationId xmlns:a16="http://schemas.microsoft.com/office/drawing/2014/main" id="{023004C1-2A9E-4942-85DD-43E65B8D820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568203" y="3527772"/>
            <a:ext cx="2520000" cy="504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51" name="Position rechts">
            <a:extLst>
              <a:ext uri="{FF2B5EF4-FFF2-40B4-BE49-F238E27FC236}">
                <a16:creationId xmlns:a16="http://schemas.microsoft.com/office/drawing/2014/main" id="{0E372351-6135-4D3E-BB49-ADE51CC96C9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568203" y="4086142"/>
            <a:ext cx="2520000" cy="432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Position | Unternehmen</a:t>
            </a:r>
          </a:p>
        </p:txBody>
      </p:sp>
      <p:sp>
        <p:nvSpPr>
          <p:cNvPr id="49" name="Text rechts">
            <a:extLst>
              <a:ext uri="{FF2B5EF4-FFF2-40B4-BE49-F238E27FC236}">
                <a16:creationId xmlns:a16="http://schemas.microsoft.com/office/drawing/2014/main" id="{AB6FEE14-D1D4-44E9-8E82-71C43DD9EE9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568203" y="4571888"/>
            <a:ext cx="2520000" cy="136853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219075" algn="l"/>
                <a:tab pos="3451225" algn="r"/>
                <a:tab pos="3887788" algn="l"/>
                <a:tab pos="7339013" algn="r"/>
                <a:tab pos="7775575" algn="l"/>
                <a:tab pos="11228388" algn="r"/>
              </a:tabLst>
              <a:defRPr sz="1200" b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0"/>
            </a:lvl2pPr>
            <a:lvl3pPr marL="0" indent="0">
              <a:spcBef>
                <a:spcPts val="0"/>
              </a:spcBef>
              <a:buNone/>
              <a:defRPr sz="1200" b="0"/>
            </a:lvl3pPr>
            <a:lvl4pPr marL="0" indent="0">
              <a:spcBef>
                <a:spcPts val="0"/>
              </a:spcBef>
              <a:buNone/>
              <a:defRPr sz="1200" b="0"/>
            </a:lvl4pPr>
            <a:lvl5pPr marL="0" indent="0">
              <a:spcBef>
                <a:spcPts val="0"/>
              </a:spcBef>
              <a:buNone/>
              <a:defRPr sz="1200" b="0"/>
            </a:lvl5pPr>
            <a:lvl6pPr marL="0" indent="0">
              <a:spcBef>
                <a:spcPts val="0"/>
              </a:spcBef>
              <a:buNone/>
              <a:defRPr sz="1200" b="0"/>
            </a:lvl6pPr>
            <a:lvl7pPr marL="0" indent="0">
              <a:spcBef>
                <a:spcPts val="0"/>
              </a:spcBef>
              <a:buNone/>
              <a:defRPr sz="1200" b="0"/>
            </a:lvl7pPr>
            <a:lvl8pPr marL="0" indent="0">
              <a:spcBef>
                <a:spcPts val="0"/>
              </a:spcBef>
              <a:buNone/>
              <a:defRPr sz="1200" b="0"/>
            </a:lvl8pPr>
            <a:lvl9pPr marL="0" indent="0">
              <a:spcBef>
                <a:spcPts val="0"/>
              </a:spcBef>
              <a:buNone/>
              <a:defRPr sz="1200" b="0"/>
            </a:lvl9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EBC9CA1-1339-49B0-A6E9-7F0A70B867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9FEC708-6EEA-4AB6-B067-95FA6E01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3543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orname Nachname">
            <a:extLst>
              <a:ext uri="{FF2B5EF4-FFF2-40B4-BE49-F238E27FC236}">
                <a16:creationId xmlns:a16="http://schemas.microsoft.com/office/drawing/2014/main" id="{800DF220-372F-4994-AED3-3776E2F88F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7423" y="2483860"/>
            <a:ext cx="4680630" cy="720000"/>
          </a:xfrm>
        </p:spPr>
        <p:txBody>
          <a:bodyPr lIns="18000" anchor="b"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  <p:sp>
        <p:nvSpPr>
          <p:cNvPr id="16" name="Position">
            <a:extLst>
              <a:ext uri="{FF2B5EF4-FFF2-40B4-BE49-F238E27FC236}">
                <a16:creationId xmlns:a16="http://schemas.microsoft.com/office/drawing/2014/main" id="{0B74B02A-0DAC-4DB6-8A87-42D3A7EB47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7428" y="3275868"/>
            <a:ext cx="4680515" cy="648000"/>
          </a:xfrm>
        </p:spPr>
        <p:txBody>
          <a:bodyPr lIns="216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1"/>
            </a:lvl2pPr>
            <a:lvl3pPr marL="0" indent="0">
              <a:spcBef>
                <a:spcPts val="0"/>
              </a:spcBef>
              <a:buNone/>
              <a:defRPr sz="1800" b="1"/>
            </a:lvl3pPr>
            <a:lvl4pPr marL="0" indent="0">
              <a:spcBef>
                <a:spcPts val="0"/>
              </a:spcBef>
              <a:buNone/>
              <a:defRPr sz="1800" b="1"/>
            </a:lvl4pPr>
            <a:lvl5pPr marL="0" indent="0">
              <a:spcBef>
                <a:spcPts val="0"/>
              </a:spcBef>
              <a:buNone/>
              <a:defRPr sz="1800" b="1"/>
            </a:lvl5pPr>
            <a:lvl6pPr marL="0" indent="0">
              <a:spcBef>
                <a:spcPts val="0"/>
              </a:spcBef>
              <a:buNone/>
              <a:defRPr sz="1800" b="1"/>
            </a:lvl6pPr>
            <a:lvl7pPr marL="0" indent="0">
              <a:spcBef>
                <a:spcPts val="0"/>
              </a:spcBef>
              <a:buNone/>
              <a:defRPr sz="1800" b="1"/>
            </a:lvl7pPr>
            <a:lvl8pPr marL="0" indent="0">
              <a:spcBef>
                <a:spcPts val="0"/>
              </a:spcBef>
              <a:buNone/>
              <a:defRPr sz="1800" b="1"/>
            </a:lvl8pPr>
            <a:lvl9pPr marL="0" indent="0">
              <a:spcBef>
                <a:spcPts val="0"/>
              </a:spcBef>
              <a:buNone/>
              <a:defRPr sz="1800" b="1"/>
            </a:lvl9pPr>
          </a:lstStyle>
          <a:p>
            <a:pPr lvl="0"/>
            <a:r>
              <a:rPr lang="de-DE" dirty="0"/>
              <a:t>Position Unternehmen</a:t>
            </a:r>
          </a:p>
        </p:txBody>
      </p:sp>
      <p:sp>
        <p:nvSpPr>
          <p:cNvPr id="145" name="Textplatzhalter">
            <a:extLst>
              <a:ext uri="{FF2B5EF4-FFF2-40B4-BE49-F238E27FC236}">
                <a16:creationId xmlns:a16="http://schemas.microsoft.com/office/drawing/2014/main" id="{67AA3AC4-B0C4-4D38-BB50-A51C5349F5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67428" y="3995948"/>
            <a:ext cx="4680515" cy="1944000"/>
          </a:xfrm>
        </p:spPr>
        <p:txBody>
          <a:bodyPr lIns="252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tabLst>
                <a:tab pos="261938" algn="l"/>
                <a:tab pos="7339013" algn="r"/>
                <a:tab pos="7775575" algn="l"/>
                <a:tab pos="11228388" algn="r"/>
              </a:tabLst>
              <a:defRPr sz="1600" b="0"/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1600" b="0"/>
            </a:lvl2pPr>
            <a:lvl3pPr marL="0" indent="0">
              <a:buNone/>
              <a:defRPr sz="1600" b="0"/>
            </a:lvl3pPr>
            <a:lvl4pPr marL="0" indent="0">
              <a:buNone/>
              <a:defRPr sz="1600" b="0"/>
            </a:lvl4pPr>
            <a:lvl5pPr marL="0" indent="0">
              <a:buNone/>
              <a:defRPr sz="1600" b="0"/>
            </a:lvl5pPr>
            <a:lvl6pPr marL="0" indent="0">
              <a:buNone/>
              <a:defRPr sz="1600" b="0"/>
            </a:lvl6pPr>
            <a:lvl7pPr marL="0" indent="0">
              <a:buNone/>
              <a:defRPr sz="1600" b="0"/>
            </a:lvl7pPr>
            <a:lvl8pPr marL="0" indent="0">
              <a:buNone/>
              <a:defRPr sz="1600" b="0"/>
            </a:lvl8pPr>
            <a:lvl9pPr marL="0" indent="0">
              <a:buNone/>
              <a:defRPr sz="1600" b="0"/>
            </a:lvl9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15" name="Bild">
            <a:extLst>
              <a:ext uri="{FF2B5EF4-FFF2-40B4-BE49-F238E27FC236}">
                <a16:creationId xmlns:a16="http://schemas.microsoft.com/office/drawing/2014/main" id="{0285B130-7783-40B1-AEAF-CCE380CE46B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3706813" cy="6335713"/>
          </a:xfrm>
          <a:noFill/>
        </p:spPr>
        <p:txBody>
          <a:bodyPr bIns="86400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ysClr val="windowText" lastClr="000000"/>
                </a:solidFill>
              </a:defRPr>
            </a:lvl1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Icon einfügen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855D636-E44C-4B52-9178-B3D2FA42A7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1087176" y="5543713"/>
            <a:ext cx="792085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965A7D4-C5F0-49FD-8013-DA8D129922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1087176" y="4751713"/>
            <a:ext cx="792085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3993E40-1532-4A4E-BEA5-2A313F1102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9503004" y="3167713"/>
            <a:ext cx="792085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735EFC-7FAA-4A54-ADB0-C266828078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295089" y="5543713"/>
            <a:ext cx="792085" cy="792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EEFFF78-C4CF-4BD3-8182-D10314209C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295089" y="3959713"/>
            <a:ext cx="792085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185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elen 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56C0B80-F5D4-4CB2-BA23-93B828C88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1185" y="0"/>
            <a:ext cx="3169527" cy="3960000"/>
            <a:chOff x="-1185" y="0"/>
            <a:chExt cx="3169527" cy="3960000"/>
          </a:xfrm>
        </p:grpSpPr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B3422F05-5790-4345-B3C0-09478627D2B3}"/>
                </a:ext>
              </a:extLst>
            </p:cNvPr>
            <p:cNvSpPr/>
            <p:nvPr userDrawn="1"/>
          </p:nvSpPr>
          <p:spPr bwMode="gray">
            <a:xfrm flipH="1" flipV="1">
              <a:off x="792087" y="0"/>
              <a:ext cx="792085" cy="7920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283AD89D-B8EB-44D9-BBE6-AE6040DEE71F}"/>
                </a:ext>
              </a:extLst>
            </p:cNvPr>
            <p:cNvSpPr/>
            <p:nvPr userDrawn="1"/>
          </p:nvSpPr>
          <p:spPr bwMode="gray">
            <a:xfrm flipH="1" flipV="1">
              <a:off x="792087" y="792000"/>
              <a:ext cx="792085" cy="792000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84DBDCE3-55BF-4DF9-ACDD-5B774987835D}"/>
                </a:ext>
              </a:extLst>
            </p:cNvPr>
            <p:cNvSpPr/>
            <p:nvPr userDrawn="1"/>
          </p:nvSpPr>
          <p:spPr bwMode="gray">
            <a:xfrm flipH="1" flipV="1">
              <a:off x="2376257" y="3168000"/>
              <a:ext cx="792085" cy="792000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5F010E6E-D536-4F84-8D9D-F22E93789904}"/>
                </a:ext>
              </a:extLst>
            </p:cNvPr>
            <p:cNvSpPr/>
            <p:nvPr userDrawn="1"/>
          </p:nvSpPr>
          <p:spPr bwMode="gray">
            <a:xfrm flipH="1" flipV="1">
              <a:off x="0" y="792000"/>
              <a:ext cx="792085" cy="792000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79624E92-FCF5-4795-932D-BB415B5A5E5E}"/>
                </a:ext>
              </a:extLst>
            </p:cNvPr>
            <p:cNvSpPr/>
            <p:nvPr userDrawn="1"/>
          </p:nvSpPr>
          <p:spPr bwMode="gray">
            <a:xfrm flipH="1" flipV="1">
              <a:off x="792087" y="2376000"/>
              <a:ext cx="792085" cy="792000"/>
            </a:xfrm>
            <a:prstGeom prst="rect">
              <a:avLst/>
            </a:pr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8FDEE378-57E5-46F7-9A0A-99F6E393F7BE}"/>
                </a:ext>
              </a:extLst>
            </p:cNvPr>
            <p:cNvSpPr/>
            <p:nvPr userDrawn="1"/>
          </p:nvSpPr>
          <p:spPr bwMode="gray">
            <a:xfrm flipH="1" flipV="1">
              <a:off x="1584172" y="2376000"/>
              <a:ext cx="792085" cy="7920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A88DEAAB-6664-4270-8B3A-22509908268A}"/>
                </a:ext>
              </a:extLst>
            </p:cNvPr>
            <p:cNvSpPr/>
            <p:nvPr userDrawn="1"/>
          </p:nvSpPr>
          <p:spPr bwMode="gray">
            <a:xfrm flipH="1" flipV="1">
              <a:off x="-1185" y="3167568"/>
              <a:ext cx="792085" cy="792000"/>
            </a:xfrm>
            <a:prstGeom prst="rect">
              <a:avLst/>
            </a:pr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3B773500-AC2A-4A39-BE05-B8FBF77D79E3}"/>
                </a:ext>
              </a:extLst>
            </p:cNvPr>
            <p:cNvSpPr/>
            <p:nvPr userDrawn="1"/>
          </p:nvSpPr>
          <p:spPr bwMode="gray">
            <a:xfrm flipH="1" flipV="1">
              <a:off x="792087" y="1584000"/>
              <a:ext cx="792085" cy="792000"/>
            </a:xfrm>
            <a:prstGeom prst="rect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9" name="Titel">
            <a:extLst>
              <a:ext uri="{FF2B5EF4-FFF2-40B4-BE49-F238E27FC236}">
                <a16:creationId xmlns:a16="http://schemas.microsoft.com/office/drawing/2014/main" id="{8906CC32-43A4-4D18-ACFC-80B506FCD9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83" y="1584000"/>
            <a:ext cx="5904000" cy="1295868"/>
          </a:xfrm>
        </p:spPr>
        <p:txBody>
          <a:bodyPr anchor="b" anchorCtr="0"/>
          <a:lstStyle>
            <a:lvl1pPr>
              <a:defRPr sz="3600" b="1" cap="none" spc="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Vielen Dank!</a:t>
            </a:r>
          </a:p>
        </p:txBody>
      </p:sp>
      <p:sp>
        <p:nvSpPr>
          <p:cNvPr id="41" name="Kurzbeschreibung">
            <a:extLst>
              <a:ext uri="{FF2B5EF4-FFF2-40B4-BE49-F238E27FC236}">
                <a16:creationId xmlns:a16="http://schemas.microsoft.com/office/drawing/2014/main" id="{A787CEE3-BFC4-468B-98AC-4B0F73DACD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4083" y="3060003"/>
            <a:ext cx="5904000" cy="144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Optionale Kurzbeschreibung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6AD63D9-597B-4C31-918C-ED6C762AF3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7203" y="395548"/>
            <a:ext cx="1547044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39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>
      <p:transition/>
    </mc:Fallback>
  </mc:AlternateContent>
  <p:extLst>
    <p:ext uri="{DCECCB84-F9BA-43D5-87BE-67443E8EF086}">
      <p15:sldGuideLst xmlns:p15="http://schemas.microsoft.com/office/powerpoint/2012/main">
        <p15:guide id="1" orient="horz" pos="1995">
          <p15:clr>
            <a:srgbClr val="FBAE40"/>
          </p15:clr>
        </p15:guide>
        <p15:guide id="2" pos="374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elen Dank | m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intergrund">
            <a:extLst>
              <a:ext uri="{FF2B5EF4-FFF2-40B4-BE49-F238E27FC236}">
                <a16:creationId xmlns:a16="http://schemas.microsoft.com/office/drawing/2014/main" id="{5B71E12A-35D1-49E3-AB43-B07D4130CA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288"/>
            <a:ext cx="11879263" cy="63357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de-DE" sz="2000" dirty="0">
              <a:solidFill>
                <a:schemeClr val="tx1"/>
              </a:solidFill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97E7CCBC-5A51-4922-8971-A7F2D504FE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7203" y="395548"/>
            <a:ext cx="1547044" cy="288000"/>
          </a:xfrm>
          <a:prstGeom prst="rect">
            <a:avLst/>
          </a:prstGeom>
        </p:spPr>
      </p:pic>
      <p:sp>
        <p:nvSpPr>
          <p:cNvPr id="7" name="Titel">
            <a:extLst>
              <a:ext uri="{FF2B5EF4-FFF2-40B4-BE49-F238E27FC236}">
                <a16:creationId xmlns:a16="http://schemas.microsoft.com/office/drawing/2014/main" id="{B99D3C98-D3C3-4D70-9705-A2A630FA6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103427" y="1584325"/>
            <a:ext cx="5904000" cy="1295283"/>
          </a:xfrm>
        </p:spPr>
        <p:txBody>
          <a:bodyPr anchor="b" anchorCtr="0"/>
          <a:lstStyle>
            <a:lvl1pPr>
              <a:defRPr sz="3600" b="1" cap="none" spc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!</a:t>
            </a:r>
          </a:p>
        </p:txBody>
      </p:sp>
      <p:sp>
        <p:nvSpPr>
          <p:cNvPr id="40" name="Kurzbeschreibung">
            <a:extLst>
              <a:ext uri="{FF2B5EF4-FFF2-40B4-BE49-F238E27FC236}">
                <a16:creationId xmlns:a16="http://schemas.microsoft.com/office/drawing/2014/main" id="{EC20009B-7A49-4A82-A2F8-F3406E0478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3427" y="3059788"/>
            <a:ext cx="5904000" cy="144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Optionale Kurzbeschreibung</a:t>
            </a:r>
          </a:p>
        </p:txBody>
      </p:sp>
      <p:grpSp>
        <p:nvGrpSpPr>
          <p:cNvPr id="4" name="Schmuckkästen">
            <a:extLst>
              <a:ext uri="{FF2B5EF4-FFF2-40B4-BE49-F238E27FC236}">
                <a16:creationId xmlns:a16="http://schemas.microsoft.com/office/drawing/2014/main" id="{6EBD9942-F1EA-4FED-AD4D-FC37932DC6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1185" y="0"/>
            <a:ext cx="3169527" cy="3960000"/>
            <a:chOff x="-1185" y="0"/>
            <a:chExt cx="3169527" cy="3960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9C9FC830-DD55-46A0-95F5-A5180DA6A87D}"/>
                </a:ext>
              </a:extLst>
            </p:cNvPr>
            <p:cNvSpPr/>
            <p:nvPr userDrawn="1"/>
          </p:nvSpPr>
          <p:spPr bwMode="gray">
            <a:xfrm flipH="1" flipV="1">
              <a:off x="792087" y="0"/>
              <a:ext cx="792085" cy="7920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33A79810-FE4E-4C19-97F2-AD925B6DD460}"/>
                </a:ext>
              </a:extLst>
            </p:cNvPr>
            <p:cNvSpPr/>
            <p:nvPr userDrawn="1"/>
          </p:nvSpPr>
          <p:spPr bwMode="gray">
            <a:xfrm flipH="1" flipV="1">
              <a:off x="792087" y="792000"/>
              <a:ext cx="792085" cy="792000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ED1B974F-F20E-458D-AF22-3A6F042A533D}"/>
                </a:ext>
              </a:extLst>
            </p:cNvPr>
            <p:cNvSpPr/>
            <p:nvPr userDrawn="1"/>
          </p:nvSpPr>
          <p:spPr bwMode="gray">
            <a:xfrm flipH="1" flipV="1">
              <a:off x="2376257" y="3168000"/>
              <a:ext cx="792085" cy="792000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E58D7131-1830-48B2-983D-0C0337EAC7F1}"/>
                </a:ext>
              </a:extLst>
            </p:cNvPr>
            <p:cNvSpPr/>
            <p:nvPr userDrawn="1"/>
          </p:nvSpPr>
          <p:spPr bwMode="gray">
            <a:xfrm flipH="1" flipV="1">
              <a:off x="0" y="792000"/>
              <a:ext cx="792085" cy="792000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68251974-C4B2-45D0-87B1-21148C225FBC}"/>
                </a:ext>
              </a:extLst>
            </p:cNvPr>
            <p:cNvSpPr/>
            <p:nvPr userDrawn="1"/>
          </p:nvSpPr>
          <p:spPr bwMode="gray">
            <a:xfrm flipH="1" flipV="1">
              <a:off x="792087" y="2376000"/>
              <a:ext cx="792085" cy="792000"/>
            </a:xfrm>
            <a:prstGeom prst="rect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1A9171CB-7EEB-415B-B263-B24777FE4E23}"/>
                </a:ext>
              </a:extLst>
            </p:cNvPr>
            <p:cNvSpPr/>
            <p:nvPr userDrawn="1"/>
          </p:nvSpPr>
          <p:spPr bwMode="gray">
            <a:xfrm flipH="1" flipV="1">
              <a:off x="1584172" y="2376000"/>
              <a:ext cx="792085" cy="7920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D217DA00-78B7-4547-9FF9-0ADA19B1138D}"/>
                </a:ext>
              </a:extLst>
            </p:cNvPr>
            <p:cNvSpPr/>
            <p:nvPr userDrawn="1"/>
          </p:nvSpPr>
          <p:spPr bwMode="gray">
            <a:xfrm flipH="1" flipV="1">
              <a:off x="-1185" y="3167568"/>
              <a:ext cx="792085" cy="7920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019ADF5C-9A72-470D-AF6D-21384050CE92}"/>
                </a:ext>
              </a:extLst>
            </p:cNvPr>
            <p:cNvSpPr/>
            <p:nvPr userDrawn="1"/>
          </p:nvSpPr>
          <p:spPr bwMode="gray">
            <a:xfrm flipH="1" flipV="1">
              <a:off x="792087" y="1584000"/>
              <a:ext cx="792085" cy="792000"/>
            </a:xfrm>
            <a:prstGeom prst="rect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639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995">
          <p15:clr>
            <a:srgbClr val="FBAE40"/>
          </p15:clr>
        </p15:guide>
        <p15:guide id="2" pos="374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apiteltrenner |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Kapitel">
            <a:extLst>
              <a:ext uri="{FF2B5EF4-FFF2-40B4-BE49-F238E27FC236}">
                <a16:creationId xmlns:a16="http://schemas.microsoft.com/office/drawing/2014/main" id="{B99D3C98-D3C3-4D70-9705-A2A630FA6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1946" y="1584325"/>
            <a:ext cx="4752000" cy="1619367"/>
          </a:xfrm>
        </p:spPr>
        <p:txBody>
          <a:bodyPr anchor="b"/>
          <a:lstStyle>
            <a:lvl1pPr>
              <a:defRPr sz="3600" b="1" spc="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Name des aktuellen Kapitels</a:t>
            </a:r>
          </a:p>
        </p:txBody>
      </p:sp>
      <p:sp>
        <p:nvSpPr>
          <p:cNvPr id="15" name="Kurzbeschreibung">
            <a:extLst>
              <a:ext uri="{FF2B5EF4-FFF2-40B4-BE49-F238E27FC236}">
                <a16:creationId xmlns:a16="http://schemas.microsoft.com/office/drawing/2014/main" id="{942FA83A-1852-4C32-85F8-FA1B9D8EEE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7583" y="3383816"/>
            <a:ext cx="4752000" cy="1440000"/>
          </a:xfrm>
        </p:spPr>
        <p:txBody>
          <a:bodyPr lIns="36000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Optionale Kurzbeschreibung des Kapitels.</a:t>
            </a:r>
          </a:p>
        </p:txBody>
      </p:sp>
      <p:sp>
        <p:nvSpPr>
          <p:cNvPr id="18" name="Bild">
            <a:extLst>
              <a:ext uri="{FF2B5EF4-FFF2-40B4-BE49-F238E27FC236}">
                <a16:creationId xmlns:a16="http://schemas.microsoft.com/office/drawing/2014/main" id="{451B5051-8702-4827-AF9F-3A6048A0470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-1" y="0"/>
            <a:ext cx="4103689" cy="6335713"/>
          </a:xfrm>
          <a:noFill/>
        </p:spPr>
        <p:txBody>
          <a:bodyPr vert="horz" lIns="0" tIns="0" rIns="0" bIns="864000" rtlCol="0" anchor="ctr" anchorCtr="1">
            <a:noAutofit/>
          </a:bodyPr>
          <a:lstStyle>
            <a:lvl1pPr marL="0" indent="0" algn="ctr">
              <a:buNone/>
              <a:defRPr lang="de-DE" sz="1000" b="0" dirty="0">
                <a:solidFill>
                  <a:sysClr val="windowText" lastClr="000000"/>
                </a:solidFill>
              </a:defRPr>
            </a:lvl1pPr>
          </a:lstStyle>
          <a:p>
            <a:pPr lvl="0" algn="ctr">
              <a:lnSpc>
                <a:spcPct val="100000"/>
              </a:lnSpc>
              <a:spcBef>
                <a:spcPts val="0"/>
              </a:spcBef>
            </a:pPr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 Symbol hinzufügen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53EE1E14-32A2-434F-A448-505E4F02C0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7203" y="395548"/>
            <a:ext cx="1547044" cy="288000"/>
          </a:xfrm>
          <a:prstGeom prst="rect">
            <a:avLst/>
          </a:prstGeom>
        </p:spPr>
      </p:pic>
      <p:sp>
        <p:nvSpPr>
          <p:cNvPr id="172" name="Schmuckkasten">
            <a:extLst>
              <a:ext uri="{FF2B5EF4-FFF2-40B4-BE49-F238E27FC236}">
                <a16:creationId xmlns:a16="http://schemas.microsoft.com/office/drawing/2014/main" id="{44347288-6856-42F3-9587-E705D8DD7F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11427" y="4752120"/>
            <a:ext cx="792000" cy="792000"/>
          </a:xfrm>
          <a:solidFill>
            <a:schemeClr val="tx2"/>
          </a:solidFill>
          <a:ln>
            <a:noFill/>
          </a:ln>
        </p:spPr>
        <p:txBody>
          <a:bodyPr/>
          <a:lstStyle>
            <a:lvl1pPr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 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3D451AC-4140-46EE-830C-4BCA0937CC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103427" y="0"/>
            <a:ext cx="7776864" cy="6336208"/>
            <a:chOff x="4103427" y="0"/>
            <a:chExt cx="7776864" cy="6336208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AC09C835-1438-42E4-B98F-0B00EFC3B02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11088291" y="3960032"/>
              <a:ext cx="792000" cy="7920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47ED9F87-C5B6-47ED-A699-ED0CC336661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11088291" y="3168032"/>
              <a:ext cx="792000" cy="792000"/>
            </a:xfrm>
            <a:prstGeom prst="rect">
              <a:avLst/>
            </a:pr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C226830E-B7AE-4DA7-8F95-23A2CE2374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10296203" y="4752120"/>
              <a:ext cx="792000" cy="792000"/>
            </a:xfrm>
            <a:prstGeom prst="rect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5A4BA88B-5898-4359-A155-6208069C80A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4103515" y="0"/>
              <a:ext cx="792000" cy="792000"/>
            </a:xfrm>
            <a:prstGeom prst="rect">
              <a:avLst/>
            </a:pr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EC97969-D9C5-49E2-8324-48C59FE01A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4895515" y="5544208"/>
              <a:ext cx="792000" cy="7920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F3213413-5655-4753-BA88-DE53E4A015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4103515" y="4752120"/>
              <a:ext cx="792000" cy="792000"/>
            </a:xfrm>
            <a:prstGeom prst="rect">
              <a:avLst/>
            </a:pr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71317DDF-DB19-4D9B-8A38-C41B9A262E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4103427" y="3960032"/>
              <a:ext cx="792000" cy="792000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F0F22BA2-2C35-4810-AFC2-3B704011800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504027" y="5844467"/>
            <a:ext cx="720080" cy="144000"/>
          </a:xfrm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3" name="Fußzeilenplatzhalter 3">
            <a:extLst>
              <a:ext uri="{FF2B5EF4-FFF2-40B4-BE49-F238E27FC236}">
                <a16:creationId xmlns:a16="http://schemas.microsoft.com/office/drawing/2014/main" id="{A40AFDD3-D2A2-4D8C-AC39-741788B1D82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299671" y="5844467"/>
            <a:ext cx="3132348" cy="144000"/>
          </a:xfrm>
          <a:ln>
            <a:solidFill>
              <a:schemeClr val="bg1"/>
            </a:solidFill>
          </a:ln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44" name="Foliennummernplatzhalter 4">
            <a:extLst>
              <a:ext uri="{FF2B5EF4-FFF2-40B4-BE49-F238E27FC236}">
                <a16:creationId xmlns:a16="http://schemas.microsoft.com/office/drawing/2014/main" id="{DE7FF7AC-6A17-4E74-9A44-836712EC245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96213" y="5831863"/>
            <a:ext cx="288033" cy="144305"/>
          </a:xfrm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439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>
      <p:transition/>
    </mc:Fallback>
  </mc:AlternateContent>
  <p:extLst>
    <p:ext uri="{DCECCB84-F9BA-43D5-87BE-67443E8EF086}">
      <p15:sldGuideLst xmlns:p15="http://schemas.microsoft.com/office/powerpoint/2012/main">
        <p15:guide id="1" orient="horz" pos="1995">
          <p15:clr>
            <a:srgbClr val="FBAE40"/>
          </p15:clr>
        </p15:guide>
        <p15:guide id="2" pos="374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umsplatzhalter 2">
            <a:extLst>
              <a:ext uri="{FF2B5EF4-FFF2-40B4-BE49-F238E27FC236}">
                <a16:creationId xmlns:a16="http://schemas.microsoft.com/office/drawing/2014/main" id="{E3AE364F-9F6A-40B0-BD4F-77C0FA56E4B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504027" y="6060780"/>
            <a:ext cx="720080" cy="144000"/>
          </a:xfrm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28" name="Fußzeilenplatzhalter 3">
            <a:extLst>
              <a:ext uri="{FF2B5EF4-FFF2-40B4-BE49-F238E27FC236}">
                <a16:creationId xmlns:a16="http://schemas.microsoft.com/office/drawing/2014/main" id="{AEF7BFD4-2AA2-47FC-B247-2D112511A39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299671" y="6060780"/>
            <a:ext cx="3132348" cy="144000"/>
          </a:xfrm>
          <a:ln>
            <a:solidFill>
              <a:schemeClr val="bg1"/>
            </a:solidFill>
          </a:ln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29" name="Foliennummernplatzhalter 4">
            <a:extLst>
              <a:ext uri="{FF2B5EF4-FFF2-40B4-BE49-F238E27FC236}">
                <a16:creationId xmlns:a16="http://schemas.microsoft.com/office/drawing/2014/main" id="{0627B3A3-65E7-4C9B-9ABF-7E6B357BAA2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96213" y="6048176"/>
            <a:ext cx="288033" cy="144305"/>
          </a:xfrm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97E7CCBC-5A51-4922-8971-A7F2D504FE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7203" y="395548"/>
            <a:ext cx="1547044" cy="288000"/>
          </a:xfrm>
          <a:prstGeom prst="rect">
            <a:avLst/>
          </a:prstGeom>
        </p:spPr>
      </p:pic>
      <p:sp>
        <p:nvSpPr>
          <p:cNvPr id="5" name="Schmuckkasten">
            <a:extLst>
              <a:ext uri="{FF2B5EF4-FFF2-40B4-BE49-F238E27FC236}">
                <a16:creationId xmlns:a16="http://schemas.microsoft.com/office/drawing/2014/main" id="{803F9C55-1767-45D2-87AF-7F784CFEC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-1" y="1583680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chmuckkasten">
            <a:extLst>
              <a:ext uri="{FF2B5EF4-FFF2-40B4-BE49-F238E27FC236}">
                <a16:creationId xmlns:a16="http://schemas.microsoft.com/office/drawing/2014/main" id="{311EC3D9-EA14-4EEE-8576-CEB5BED0AA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583147" y="2375768"/>
            <a:ext cx="792000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Schmuckkasten">
            <a:extLst>
              <a:ext uri="{FF2B5EF4-FFF2-40B4-BE49-F238E27FC236}">
                <a16:creationId xmlns:a16="http://schemas.microsoft.com/office/drawing/2014/main" id="{FF92DB8C-4D01-4DE8-B94C-6453F2A3FB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583147" y="1583680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Schmuckkasten">
            <a:extLst>
              <a:ext uri="{FF2B5EF4-FFF2-40B4-BE49-F238E27FC236}">
                <a16:creationId xmlns:a16="http://schemas.microsoft.com/office/drawing/2014/main" id="{DA6ED10D-51B2-442A-90DD-36439C82FA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2375235" y="1583713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Schmuckkasten">
            <a:extLst>
              <a:ext uri="{FF2B5EF4-FFF2-40B4-BE49-F238E27FC236}">
                <a16:creationId xmlns:a16="http://schemas.microsoft.com/office/drawing/2014/main" id="{9585FD67-6704-4E86-B6E4-ED6F459972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791059" y="791680"/>
            <a:ext cx="792000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5" name="Schmuckkasten">
            <a:extLst>
              <a:ext uri="{FF2B5EF4-FFF2-40B4-BE49-F238E27FC236}">
                <a16:creationId xmlns:a16="http://schemas.microsoft.com/office/drawing/2014/main" id="{F78F0B4B-7A20-4B5B-8B9D-BDD8883627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583147" y="791592"/>
            <a:ext cx="792000" cy="792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7" name="Schmuckkasten">
            <a:extLst>
              <a:ext uri="{FF2B5EF4-FFF2-40B4-BE49-F238E27FC236}">
                <a16:creationId xmlns:a16="http://schemas.microsoft.com/office/drawing/2014/main" id="{6EE18F80-A702-40A2-8B9F-B2C07C99D3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-1" y="0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9" name="Schmuckkasten">
            <a:extLst>
              <a:ext uri="{FF2B5EF4-FFF2-40B4-BE49-F238E27FC236}">
                <a16:creationId xmlns:a16="http://schemas.microsoft.com/office/drawing/2014/main" id="{6D3B9504-22EE-49E7-ACDB-A2C1ABC19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791059" y="0"/>
            <a:ext cx="792000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650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>
        <p15:guide id="1" orient="horz" pos="998">
          <p15:clr>
            <a:srgbClr val="FBAE40"/>
          </p15:clr>
        </p15:guide>
        <p15:guide id="2" orient="horz" pos="3742">
          <p15:clr>
            <a:srgbClr val="FBAE40"/>
          </p15:clr>
        </p15:guide>
        <p15:guide id="3" pos="2585">
          <p15:clr>
            <a:srgbClr val="FBAE40"/>
          </p15:clr>
        </p15:guide>
        <p15:guide id="4" pos="7234">
          <p15:clr>
            <a:srgbClr val="FBAE40"/>
          </p15:clr>
        </p15:guide>
        <p15:guide id="5" pos="4762">
          <p15:clr>
            <a:srgbClr val="FBAE40"/>
          </p15:clr>
        </p15:guide>
        <p15:guide id="6" pos="505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97E7CCBC-5A51-4922-8971-A7F2D504FE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7203" y="395548"/>
            <a:ext cx="1547044" cy="288000"/>
          </a:xfrm>
          <a:prstGeom prst="rect">
            <a:avLst/>
          </a:prstGeom>
        </p:spPr>
      </p:pic>
      <p:sp>
        <p:nvSpPr>
          <p:cNvPr id="7" name="Kapitel">
            <a:extLst>
              <a:ext uri="{FF2B5EF4-FFF2-40B4-BE49-F238E27FC236}">
                <a16:creationId xmlns:a16="http://schemas.microsoft.com/office/drawing/2014/main" id="{B99D3C98-D3C3-4D70-9705-A2A630FA6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561" y="1152000"/>
            <a:ext cx="6082930" cy="2916000"/>
          </a:xfrm>
        </p:spPr>
        <p:txBody>
          <a:bodyPr anchor="b" anchorCtr="0"/>
          <a:lstStyle>
            <a:lvl1pPr>
              <a:defRPr sz="3600" b="1" cap="none" spc="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EF618D3B-6754-4F49-9961-A18D5F0890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9504115" y="3960032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B3422F05-5790-4345-B3C0-09478627D2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296203" y="5544208"/>
            <a:ext cx="792000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283AD89D-B8EB-44D9-BBE6-AE6040DEE7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296203" y="4752120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4DBDCE3-55BF-4DF9-ACDD-5B77498783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8712027" y="2375856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F010E6E-D536-4F84-8D9D-F22E937899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1088291" y="4752120"/>
            <a:ext cx="792000" cy="79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9624E92-FCF5-4795-932D-BB415B5A5E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1088291" y="3167944"/>
            <a:ext cx="792000" cy="792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FDEE378-57E5-46F7-9A0A-99F6E393F7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9504027" y="3167944"/>
            <a:ext cx="792000" cy="792000"/>
          </a:xfrm>
          <a:prstGeom prst="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Schmuckkasten">
            <a:extLst>
              <a:ext uri="{FF2B5EF4-FFF2-40B4-BE49-F238E27FC236}">
                <a16:creationId xmlns:a16="http://schemas.microsoft.com/office/drawing/2014/main" id="{6FCAFF2D-8FE2-46BF-9863-DBC26069D4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296203" y="3960032"/>
            <a:ext cx="792000" cy="792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4D6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8" name="Kurzbeschreibung">
            <a:extLst>
              <a:ext uri="{FF2B5EF4-FFF2-40B4-BE49-F238E27FC236}">
                <a16:creationId xmlns:a16="http://schemas.microsoft.com/office/drawing/2014/main" id="{9EB30F73-DBF6-4509-B478-29D72A94BE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7323" y="4248136"/>
            <a:ext cx="6082930" cy="144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buNone/>
              <a:defRPr sz="1800" b="0">
                <a:solidFill>
                  <a:schemeClr val="tx1"/>
                </a:solidFill>
              </a:defRPr>
            </a:lvl5pPr>
            <a:lvl6pPr marL="0" indent="0">
              <a:buNone/>
              <a:defRPr sz="1800" b="0">
                <a:solidFill>
                  <a:schemeClr val="tx1"/>
                </a:solidFill>
              </a:defRPr>
            </a:lvl6pPr>
            <a:lvl7pPr marL="0" indent="0">
              <a:buNone/>
              <a:defRPr sz="1800" b="0">
                <a:solidFill>
                  <a:schemeClr val="tx1"/>
                </a:solidFill>
              </a:defRPr>
            </a:lvl7pPr>
            <a:lvl8pPr marL="0" indent="0">
              <a:buNone/>
              <a:defRPr sz="1800" b="0">
                <a:solidFill>
                  <a:schemeClr val="tx1"/>
                </a:solidFill>
              </a:defRPr>
            </a:lvl8pPr>
            <a:lvl9pPr marL="0" indent="0"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Optionale Kurzbeschreibung des Kapitels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8312BC0-E82B-47EE-BBCE-A6D2FEA1571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504027" y="5844467"/>
            <a:ext cx="720080" cy="144000"/>
          </a:xfrm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1F709CD-A4DE-4A6C-82C6-B830430B5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299671" y="5844467"/>
            <a:ext cx="3132348" cy="144000"/>
          </a:xfrm>
          <a:ln>
            <a:solidFill>
              <a:schemeClr val="bg1"/>
            </a:solidFill>
          </a:ln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D77818-E9D0-4C3B-B25C-86889EBEAA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120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 xmlns:p15="http://schemas.microsoft.com/office/powerpoint/2012/main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| m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intergrund">
            <a:extLst>
              <a:ext uri="{FF2B5EF4-FFF2-40B4-BE49-F238E27FC236}">
                <a16:creationId xmlns:a16="http://schemas.microsoft.com/office/drawing/2014/main" id="{5B71E12A-35D1-49E3-AB43-B07D4130CA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288"/>
            <a:ext cx="11879263" cy="63357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de-DE" sz="2000" dirty="0">
              <a:solidFill>
                <a:schemeClr val="tx1"/>
              </a:solidFill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97E7CCBC-5A51-4922-8971-A7F2D504FE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7203" y="395548"/>
            <a:ext cx="1547044" cy="288000"/>
          </a:xfrm>
          <a:prstGeom prst="rect">
            <a:avLst/>
          </a:prstGeom>
        </p:spPr>
      </p:pic>
      <p:sp>
        <p:nvSpPr>
          <p:cNvPr id="7" name="Kapitel">
            <a:extLst>
              <a:ext uri="{FF2B5EF4-FFF2-40B4-BE49-F238E27FC236}">
                <a16:creationId xmlns:a16="http://schemas.microsoft.com/office/drawing/2014/main" id="{B99D3C98-D3C3-4D70-9705-A2A630FA6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92085" y="1151651"/>
            <a:ext cx="6082930" cy="2916305"/>
          </a:xfrm>
        </p:spPr>
        <p:txBody>
          <a:bodyPr anchor="b" anchorCtr="0"/>
          <a:lstStyle>
            <a:lvl1pPr>
              <a:defRPr sz="3600" b="1" cap="none" spc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40" name="Kurzbeschreibung">
            <a:extLst>
              <a:ext uri="{FF2B5EF4-FFF2-40B4-BE49-F238E27FC236}">
                <a16:creationId xmlns:a16="http://schemas.microsoft.com/office/drawing/2014/main" id="{EC20009B-7A49-4A82-A2F8-F3406E0478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085" y="4248136"/>
            <a:ext cx="6082930" cy="144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Optionale Kurzbeschreibung des Kapitels.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AD5E8C92-B1BF-416E-9346-5FB78B7555BA}"/>
              </a:ext>
            </a:extLst>
          </p:cNvPr>
          <p:cNvGrpSpPr/>
          <p:nvPr/>
        </p:nvGrpSpPr>
        <p:grpSpPr>
          <a:xfrm>
            <a:off x="8712027" y="2375856"/>
            <a:ext cx="3168264" cy="3960352"/>
            <a:chOff x="8712027" y="2375856"/>
            <a:chExt cx="3168264" cy="3960352"/>
          </a:xfrm>
        </p:grpSpPr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D666C510-E766-4BA0-9EC2-21C0CC87A6C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9504115" y="3960032"/>
              <a:ext cx="792000" cy="792000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60E38DC-7DD8-45CE-961D-050C19F0B73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10296203" y="5544208"/>
              <a:ext cx="792000" cy="7920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4E89824C-10C7-4769-AD9B-FB13ADED256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10296203" y="4752120"/>
              <a:ext cx="792000" cy="792000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E05BEDDD-66F1-4BAF-8BFA-ABA6C897CDE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8712027" y="2375856"/>
              <a:ext cx="792000" cy="792000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34FA067-41CF-4302-B462-6FDEBED6CE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11088291" y="4752120"/>
              <a:ext cx="792000" cy="792000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D7D7A967-68AC-4A26-AB11-AE2EBE4A339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11088291" y="3167944"/>
              <a:ext cx="792000" cy="7920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37EA2AB-0234-4F68-920B-94E19551C1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9504027" y="3167944"/>
              <a:ext cx="792000" cy="792000"/>
            </a:xfrm>
            <a:prstGeom prst="rect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5790A705-2707-457E-9F2C-26173DF8796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gray">
            <a:xfrm>
              <a:off x="10296203" y="3960032"/>
              <a:ext cx="792000" cy="792000"/>
            </a:xfrm>
            <a:prstGeom prst="rect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4D6B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57" name="Datumsplatzhalter 2">
            <a:extLst>
              <a:ext uri="{FF2B5EF4-FFF2-40B4-BE49-F238E27FC236}">
                <a16:creationId xmlns:a16="http://schemas.microsoft.com/office/drawing/2014/main" id="{D3D309D8-ACE7-47DD-9744-14B91027A7D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504027" y="5844467"/>
            <a:ext cx="720080" cy="144000"/>
          </a:xfrm>
          <a:ln>
            <a:solidFill>
              <a:schemeClr val="accent3"/>
            </a:solidFill>
          </a:ln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58" name="Fußzeilenplatzhalter 3">
            <a:extLst>
              <a:ext uri="{FF2B5EF4-FFF2-40B4-BE49-F238E27FC236}">
                <a16:creationId xmlns:a16="http://schemas.microsoft.com/office/drawing/2014/main" id="{00CCEB5A-1978-43A0-840A-73233C6378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299671" y="5844467"/>
            <a:ext cx="3132348" cy="144000"/>
          </a:xfrm>
          <a:ln>
            <a:solidFill>
              <a:schemeClr val="accent3"/>
            </a:solidFill>
          </a:ln>
        </p:spPr>
        <p:txBody>
          <a:bodyPr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59" name="Foliennummernplatzhalter 4">
            <a:extLst>
              <a:ext uri="{FF2B5EF4-FFF2-40B4-BE49-F238E27FC236}">
                <a16:creationId xmlns:a16="http://schemas.microsoft.com/office/drawing/2014/main" id="{A5EAFCD2-7F96-4994-A0C0-2960BEE73C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96213" y="5831863"/>
            <a:ext cx="288033" cy="144305"/>
          </a:xfrm>
          <a:ln>
            <a:solidFill>
              <a:schemeClr val="accent3"/>
            </a:solidFill>
          </a:ln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7099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>
      <p:transition/>
    </mc:Fallback>
  </mc:AlternateContent>
  <p:extLst>
    <p:ext uri="{DCECCB84-F9BA-43D5-87BE-67443E8EF086}">
      <p15:sldGuideLst xmlns:p15="http://schemas.microsoft.com/office/powerpoint/2012/main">
        <p15:guide id="1" orient="horz" pos="1995">
          <p15:clr>
            <a:srgbClr val="FBAE40"/>
          </p15:clr>
        </p15:guide>
        <p15:guide id="2" pos="374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59011" y="249151"/>
            <a:ext cx="9432000" cy="648000"/>
          </a:xfrm>
          <a:prstGeom prst="rect">
            <a:avLst/>
          </a:prstGeom>
        </p:spPr>
        <p:txBody>
          <a:bodyPr vert="horz" lIns="28800" tIns="0" rIns="0" bIns="0" rtlCol="0" anchor="t" anchorCtr="0">
            <a:noAutofit/>
          </a:bodyPr>
          <a:lstStyle/>
          <a:p>
            <a:r>
              <a:rPr lang="de-DE" dirty="0"/>
              <a:t>Folientitel einfüge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11196213" y="5831863"/>
            <a:ext cx="288033" cy="14430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F86FCC4D-0438-154F-9910-1CF4711F776F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67" name="Fußzeilenplatzhalter 166">
            <a:extLst>
              <a:ext uri="{FF2B5EF4-FFF2-40B4-BE49-F238E27FC236}">
                <a16:creationId xmlns:a16="http://schemas.microsoft.com/office/drawing/2014/main" id="{3B608862-38D0-4599-8754-0C8D2B2828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9882077" y="3077854"/>
            <a:ext cx="3132348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none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168" name="Datumsplatzhalter 167">
            <a:extLst>
              <a:ext uri="{FF2B5EF4-FFF2-40B4-BE49-F238E27FC236}">
                <a16:creationId xmlns:a16="http://schemas.microsoft.com/office/drawing/2014/main" id="{4A885C9F-C4D5-4010-BE44-C5832D32E2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11088494" y="5184088"/>
            <a:ext cx="72008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idx="1"/>
          </p:nvPr>
        </p:nvSpPr>
        <p:spPr>
          <a:xfrm>
            <a:off x="396296" y="1590834"/>
            <a:ext cx="10692392" cy="43488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BEE8061-E07E-4BC4-9767-7E06500277F5}"/>
              </a:ext>
            </a:extLst>
          </p:cNvPr>
          <p:cNvGrpSpPr/>
          <p:nvPr/>
        </p:nvGrpSpPr>
        <p:grpSpPr bwMode="gray">
          <a:xfrm>
            <a:off x="-179138" y="287536"/>
            <a:ext cx="70097" cy="5652628"/>
            <a:chOff x="-456728" y="287536"/>
            <a:chExt cx="216000" cy="5652628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D1239B84-0428-4B77-833C-B0DCEF2A9C1B}"/>
                </a:ext>
              </a:extLst>
            </p:cNvPr>
            <p:cNvCxnSpPr/>
            <p:nvPr userDrawn="1"/>
          </p:nvCxnSpPr>
          <p:spPr bwMode="gray">
            <a:xfrm>
              <a:off x="-456728" y="1583680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E8D0DBB9-8A9E-409D-8B37-FDD2FD50AD05}"/>
                </a:ext>
              </a:extLst>
            </p:cNvPr>
            <p:cNvCxnSpPr/>
            <p:nvPr userDrawn="1"/>
          </p:nvCxnSpPr>
          <p:spPr bwMode="gray">
            <a:xfrm>
              <a:off x="-456728" y="5940164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70F2C719-F99A-45CB-9A83-386A228C66FD}"/>
                </a:ext>
              </a:extLst>
            </p:cNvPr>
            <p:cNvCxnSpPr/>
            <p:nvPr userDrawn="1"/>
          </p:nvCxnSpPr>
          <p:spPr bwMode="gray">
            <a:xfrm>
              <a:off x="-456728" y="287536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E0DDC38-7FA5-45C4-8221-62558414AA9C}"/>
              </a:ext>
            </a:extLst>
          </p:cNvPr>
          <p:cNvCxnSpPr>
            <a:cxnSpLocks/>
          </p:cNvCxnSpPr>
          <p:nvPr/>
        </p:nvCxnSpPr>
        <p:spPr bwMode="gray">
          <a:xfrm>
            <a:off x="395015" y="-180508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CBFC60F-B1C6-4799-BAD2-B5D6951AF5A3}"/>
              </a:ext>
            </a:extLst>
          </p:cNvPr>
          <p:cNvCxnSpPr>
            <a:cxnSpLocks/>
          </p:cNvCxnSpPr>
          <p:nvPr/>
        </p:nvCxnSpPr>
        <p:spPr bwMode="gray">
          <a:xfrm>
            <a:off x="3707383" y="-180508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F6BF3BAD-5DD4-4E4D-BD0A-EC83311020D2}"/>
              </a:ext>
            </a:extLst>
          </p:cNvPr>
          <p:cNvCxnSpPr>
            <a:cxnSpLocks/>
          </p:cNvCxnSpPr>
          <p:nvPr/>
        </p:nvCxnSpPr>
        <p:spPr bwMode="gray">
          <a:xfrm>
            <a:off x="4103427" y="-180508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F3389BC1-D1FB-4558-B39D-E9D2C14185EE}"/>
              </a:ext>
            </a:extLst>
          </p:cNvPr>
          <p:cNvCxnSpPr>
            <a:cxnSpLocks/>
          </p:cNvCxnSpPr>
          <p:nvPr/>
        </p:nvCxnSpPr>
        <p:spPr bwMode="gray">
          <a:xfrm>
            <a:off x="5543587" y="-180508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C16C1A3E-0486-4572-850E-B5398FF874F8}"/>
              </a:ext>
            </a:extLst>
          </p:cNvPr>
          <p:cNvCxnSpPr>
            <a:cxnSpLocks/>
          </p:cNvCxnSpPr>
          <p:nvPr/>
        </p:nvCxnSpPr>
        <p:spPr bwMode="gray">
          <a:xfrm>
            <a:off x="5939631" y="-180508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9B20D078-33FC-491A-B857-8ED85B2E95C4}"/>
              </a:ext>
            </a:extLst>
          </p:cNvPr>
          <p:cNvCxnSpPr>
            <a:cxnSpLocks/>
          </p:cNvCxnSpPr>
          <p:nvPr/>
        </p:nvCxnSpPr>
        <p:spPr bwMode="gray">
          <a:xfrm>
            <a:off x="7379791" y="-180508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376718A6-5243-4F34-B062-5B641E6EAF7F}"/>
              </a:ext>
            </a:extLst>
          </p:cNvPr>
          <p:cNvCxnSpPr>
            <a:cxnSpLocks/>
          </p:cNvCxnSpPr>
          <p:nvPr/>
        </p:nvCxnSpPr>
        <p:spPr bwMode="gray">
          <a:xfrm>
            <a:off x="7775835" y="-180508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1314FEF1-5F2A-4778-8925-0A6D372D554D}"/>
              </a:ext>
            </a:extLst>
          </p:cNvPr>
          <p:cNvCxnSpPr>
            <a:cxnSpLocks/>
          </p:cNvCxnSpPr>
          <p:nvPr/>
        </p:nvCxnSpPr>
        <p:spPr bwMode="gray">
          <a:xfrm>
            <a:off x="11088203" y="-180508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>
            <a:extLst>
              <a:ext uri="{FF2B5EF4-FFF2-40B4-BE49-F238E27FC236}">
                <a16:creationId xmlns:a16="http://schemas.microsoft.com/office/drawing/2014/main" id="{3679BD04-219D-4F42-816B-C26F70494DB3}"/>
              </a:ext>
            </a:extLst>
          </p:cNvPr>
          <p:cNvPicPr>
            <a:picLocks noChangeAspect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10332119" y="289534"/>
            <a:ext cx="1152128" cy="214482"/>
          </a:xfrm>
          <a:prstGeom prst="rect">
            <a:avLst/>
          </a:prstGeom>
        </p:spPr>
      </p:pic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85B8329A-32C0-4A50-B699-4567F911E97E}"/>
              </a:ext>
            </a:extLst>
          </p:cNvPr>
          <p:cNvCxnSpPr>
            <a:cxnSpLocks/>
          </p:cNvCxnSpPr>
          <p:nvPr/>
        </p:nvCxnSpPr>
        <p:spPr bwMode="gray">
          <a:xfrm>
            <a:off x="11484247" y="-180508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A24FAE72-2DB6-D5A6-1F5B-1AD56064DFAA}"/>
              </a:ext>
            </a:extLst>
          </p:cNvPr>
          <p:cNvSpPr/>
          <p:nvPr>
            <p:custDataLst>
              <p:tags r:id="rId6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588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403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  <p:sldLayoutId id="2147483992" r:id="rId15"/>
    <p:sldLayoutId id="2147483993" r:id="rId16"/>
    <p:sldLayoutId id="2147483994" r:id="rId17"/>
    <p:sldLayoutId id="2147483995" r:id="rId18"/>
    <p:sldLayoutId id="2147484034" r:id="rId19"/>
    <p:sldLayoutId id="2147483996" r:id="rId20"/>
    <p:sldLayoutId id="2147483997" r:id="rId21"/>
    <p:sldLayoutId id="2147483998" r:id="rId22"/>
    <p:sldLayoutId id="2147483999" r:id="rId23"/>
    <p:sldLayoutId id="2147484000" r:id="rId24"/>
    <p:sldLayoutId id="2147484001" r:id="rId25"/>
    <p:sldLayoutId id="2147484002" r:id="rId26"/>
    <p:sldLayoutId id="2147484003" r:id="rId27"/>
    <p:sldLayoutId id="2147484004" r:id="rId28"/>
    <p:sldLayoutId id="2147484005" r:id="rId29"/>
    <p:sldLayoutId id="2147484006" r:id="rId30"/>
    <p:sldLayoutId id="2147484007" r:id="rId31"/>
    <p:sldLayoutId id="2147484008" r:id="rId32"/>
    <p:sldLayoutId id="2147484009" r:id="rId33"/>
    <p:sldLayoutId id="2147484032" r:id="rId34"/>
    <p:sldLayoutId id="2147484037" r:id="rId35"/>
    <p:sldLayoutId id="2147484010" r:id="rId36"/>
    <p:sldLayoutId id="2147484011" r:id="rId37"/>
    <p:sldLayoutId id="2147484012" r:id="rId38"/>
    <p:sldLayoutId id="2147484013" r:id="rId39"/>
    <p:sldLayoutId id="2147484014" r:id="rId40"/>
    <p:sldLayoutId id="2147484015" r:id="rId41"/>
    <p:sldLayoutId id="2147484035" r:id="rId42"/>
    <p:sldLayoutId id="2147484036" r:id="rId43"/>
    <p:sldLayoutId id="2147484016" r:id="rId44"/>
    <p:sldLayoutId id="2147484017" r:id="rId45"/>
    <p:sldLayoutId id="2147484018" r:id="rId46"/>
    <p:sldLayoutId id="2147484019" r:id="rId47"/>
    <p:sldLayoutId id="2147484020" r:id="rId48"/>
    <p:sldLayoutId id="2147484021" r:id="rId49"/>
    <p:sldLayoutId id="2147484022" r:id="rId50"/>
    <p:sldLayoutId id="2147484023" r:id="rId51"/>
    <p:sldLayoutId id="2147484024" r:id="rId52"/>
    <p:sldLayoutId id="2147484025" r:id="rId53"/>
    <p:sldLayoutId id="2147484026" r:id="rId54"/>
    <p:sldLayoutId id="2147484027" r:id="rId55"/>
    <p:sldLayoutId id="2147484028" r:id="rId56"/>
    <p:sldLayoutId id="2147484029" r:id="rId57"/>
    <p:sldLayoutId id="2147484030" r:id="rId58"/>
    <p:sldLayoutId id="2147484031" r:id="rId59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14="http://schemas.microsoft.com/office/drawing/2010/main" xmlns:asvg="http://schemas.microsoft.com/office/drawing/2016/SVG/main" xmlns:p15="http://schemas.microsoft.com/office/powerpoint/2012/main">
      <p:transition/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16000" marR="0" indent="-21600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tx1"/>
        </a:buClr>
        <a:buSzPct val="100000"/>
        <a:buFont typeface="Wingdings" panose="05000000000000000000" pitchFamily="2" charset="2"/>
        <a:buChar char="§"/>
        <a:tabLst>
          <a:tab pos="2687638" algn="l"/>
          <a:tab pos="3451225" algn="r"/>
          <a:tab pos="3887788" algn="l"/>
          <a:tab pos="7339013" algn="r"/>
          <a:tab pos="7775575" algn="l"/>
          <a:tab pos="11228388" algn="r"/>
        </a:tabLst>
        <a:defRPr sz="1600" b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tx1"/>
        </a:buClr>
        <a:buSzPct val="100000"/>
        <a:buFont typeface="+mj-lt"/>
        <a:buNone/>
        <a:tabLst>
          <a:tab pos="3452400" algn="r"/>
          <a:tab pos="3888000" algn="l"/>
          <a:tab pos="7340400" algn="r"/>
          <a:tab pos="7776000" algn="l"/>
          <a:tab pos="11228400" algn="r"/>
        </a:tabLst>
        <a:defRPr sz="1600" b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marR="0" indent="-21600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tabLst>
          <a:tab pos="3452400" algn="r"/>
          <a:tab pos="3888000" algn="l"/>
          <a:tab pos="7340400" algn="r"/>
          <a:tab pos="7776000" algn="l"/>
          <a:tab pos="11228400" algn="r"/>
        </a:tabLst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0" marR="0" indent="0" algn="l" defTabSz="914400" rtl="0" eaLnBrk="1" fontAlgn="auto" latinLnBrk="0" hangingPunct="1">
        <a:lnSpc>
          <a:spcPct val="110000"/>
        </a:lnSpc>
        <a:spcBef>
          <a:spcPts val="1200"/>
        </a:spcBef>
        <a:spcAft>
          <a:spcPts val="0"/>
        </a:spcAft>
        <a:buClr>
          <a:schemeClr val="tx1"/>
        </a:buClr>
        <a:buSzPct val="100000"/>
        <a:buFont typeface="+mj-lt"/>
        <a:buNone/>
        <a:tabLst>
          <a:tab pos="3452400" algn="r"/>
          <a:tab pos="3888000" algn="l"/>
          <a:tab pos="7340400" algn="r"/>
          <a:tab pos="7776000" algn="l"/>
          <a:tab pos="11228400" algn="r"/>
        </a:tabLst>
        <a:defRPr sz="1600" b="1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88000" marR="0" indent="-28800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tx1"/>
        </a:buClr>
        <a:buSzPct val="100000"/>
        <a:buFont typeface="+mj-lt"/>
        <a:buAutoNum type="arabicPeriod"/>
        <a:tabLst>
          <a:tab pos="3452400" algn="r"/>
          <a:tab pos="3888000" algn="l"/>
          <a:tab pos="7340400" algn="r"/>
          <a:tab pos="7776000" algn="l"/>
          <a:tab pos="11228400" algn="r"/>
        </a:tabLst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504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–"/>
        <a:tabLst>
          <a:tab pos="3452400" algn="r"/>
          <a:tab pos="3888000" algn="l"/>
          <a:tab pos="7340400" algn="r"/>
          <a:tab pos="7776000" algn="l"/>
          <a:tab pos="11228400" algn="r"/>
        </a:tabLst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648000" indent="-21600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hyperlink" Target="https://owasp.org/www-board/" TargetMode="External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0.jpg"/><Relationship Id="rId5" Type="http://schemas.microsoft.com/office/2007/relationships/hdphoto" Target="../media/hdphoto5.wdp"/><Relationship Id="rId10" Type="http://schemas.microsoft.com/office/2007/relationships/hdphoto" Target="../media/hdphoto7.wdp"/><Relationship Id="rId4" Type="http://schemas.openxmlformats.org/officeDocument/2006/relationships/image" Target="../media/image19.png"/><Relationship Id="rId9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hyperlink" Target="https://owasp.org/supporters/" TargetMode="Externa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gif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owasp.org/www-project-top-ten/" TargetMode="External"/><Relationship Id="rId7" Type="http://schemas.openxmlformats.org/officeDocument/2006/relationships/hyperlink" Target="https://owasp.org/www-project-devsecops-maturity-model/" TargetMode="External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owasp.org/www-project-samm/" TargetMode="External"/><Relationship Id="rId5" Type="http://schemas.openxmlformats.org/officeDocument/2006/relationships/hyperlink" Target="https://owasp.org/www-project-application-security-verification-standard/" TargetMode="External"/><Relationship Id="rId4" Type="http://schemas.openxmlformats.org/officeDocument/2006/relationships/hyperlink" Target="https://owasp.org/www-project-web-security-testing-guide/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gif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owasp.org/www-project-web-security-testing-guide/" TargetMode="Externa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hyperlink" Target="https://owasp.org/www-project-application-security-verification-standard/" TargetMode="Externa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hyperlink" Target="https://owasp.org/www-project-samm/" TargetMode="Externa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hyperlink" Target="https://owasp.org/www-project-devsecops-maturity-model/" TargetMode="Externa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hyperlink" Target="https://owasp.org/www-project-developer-guide/" TargetMode="Externa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gif"/><Relationship Id="rId2" Type="http://schemas.openxmlformats.org/officeDocument/2006/relationships/hyperlink" Target="https://owasp.org/www-project-cheat-sheets/" TargetMode="Externa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hyperlink" Target="https://owasp.org/www-project-cyclonedx/" TargetMode="Externa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en.wikipedia.org/wiki/Gratis_versus_libre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owasp.org/www-project-dependency-check/" TargetMode="External"/><Relationship Id="rId2" Type="http://schemas.openxmlformats.org/officeDocument/2006/relationships/hyperlink" Target="https://docs.renovatebot.com/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6.gi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hyperlink" Target="https://owasp.org/www-project-dependency-track/" TargetMode="Externa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hyperlink" Target="https://owasp.org/www-project-defectdojo/" TargetMode="Externa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juice-shop/juice-shop-ctf" TargetMode="External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1.xml"/><Relationship Id="rId5" Type="http://schemas.openxmlformats.org/officeDocument/2006/relationships/hyperlink" Target="https://owasp.org/www-project-juice-shop/" TargetMode="External"/><Relationship Id="rId4" Type="http://schemas.openxmlformats.org/officeDocument/2006/relationships/hyperlink" Target="https://github.com/juice-shop/multi-juicer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scd.iterate.de/" TargetMode="External"/><Relationship Id="rId2" Type="http://schemas.openxmlformats.org/officeDocument/2006/relationships/hyperlink" Target="https://www.securecodebox.io/docs/scanners" TargetMode="Externa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1.svg"/><Relationship Id="rId5" Type="http://schemas.openxmlformats.org/officeDocument/2006/relationships/image" Target="../media/image50.png"/><Relationship Id="rId4" Type="http://schemas.openxmlformats.org/officeDocument/2006/relationships/hyperlink" Target="https://owasp.org/www-project-securecodebox/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owasp.org/www-project-developer-guide/" TargetMode="External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1.xml"/><Relationship Id="rId4" Type="http://schemas.openxmlformats.org/officeDocument/2006/relationships/hyperlink" Target="https://owasp.org/projects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teratec-nurdemteam.org/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5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mailto:sven.strittmatter@iteratec.com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54.png"/><Relationship Id="rId4" Type="http://schemas.openxmlformats.org/officeDocument/2006/relationships/image" Target="../media/image12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owasp.org/events/" TargetMode="External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1.xml"/><Relationship Id="rId4" Type="http://schemas.openxmlformats.org/officeDocument/2006/relationships/hyperlink" Target="https://www.linkedin.com/posts/noah-yisa-385977163_owasp-2022-global-appsec-day-2-activity-6999501954896846848-EnqZ?utm_source=social_share_send&amp;utm_medium=member_desktop_web&amp;rcm=ACoAAASPQrsBL0acqiJjta4Z2vl4XmITjrTxI4k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owasp.org/chapters/" TargetMode="External"/><Relationship Id="rId3" Type="http://schemas.openxmlformats.org/officeDocument/2006/relationships/image" Target="../media/image17.png"/><Relationship Id="rId7" Type="http://schemas.openxmlformats.org/officeDocument/2006/relationships/hyperlink" Target="https://www.meetup.com/de-DE/owasp-stuttgart-chapter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hyperlink" Target="https://owasp.org/www-chapter-stuttgart/" TargetMode="External"/><Relationship Id="rId5" Type="http://schemas.openxmlformats.org/officeDocument/2006/relationships/hyperlink" Target="https://god.owasp.de/" TargetMode="External"/><Relationship Id="rId10" Type="http://schemas.openxmlformats.org/officeDocument/2006/relationships/hyperlink" Target="https://owasp.org/slack/invite" TargetMode="External"/><Relationship Id="rId4" Type="http://schemas.openxmlformats.org/officeDocument/2006/relationships/hyperlink" Target="https://owasp.org/www-chapter-germany/" TargetMode="External"/><Relationship Id="rId9" Type="http://schemas.openxmlformats.org/officeDocument/2006/relationships/hyperlink" Target="https://groups.google.com/a/owasp.com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owasp.glueup.com/" TargetMode="Externa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083E07C6-6136-A037-3CA9-3A3884974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WASP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8727777-3D41-1CCA-5279-773E08A8AB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uch More </a:t>
            </a:r>
            <a:r>
              <a:rPr lang="de-DE" dirty="0" err="1"/>
              <a:t>Than</a:t>
            </a:r>
            <a:r>
              <a:rPr lang="de-DE" dirty="0"/>
              <a:t> Just OWASP Top 10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3C12258-869D-ACDE-0ABF-8D9D7712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Sven Strittmatter</a:t>
            </a:r>
          </a:p>
        </p:txBody>
      </p:sp>
    </p:spTree>
    <p:extLst>
      <p:ext uri="{BB962C8B-B14F-4D97-AF65-F5344CB8AC3E}">
        <p14:creationId xmlns:p14="http://schemas.microsoft.com/office/powerpoint/2010/main" val="2881728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p15="http://schemas.microsoft.com/office/powerpoint/2012/main" xmlns:a16="http://schemas.microsoft.com/office/drawing/2014/main" xmlns:adec="http://schemas.microsoft.com/office/drawing/2017/decorative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A2A1CC-7453-759B-52A1-7B913BD9816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FABBCC-BBCE-F4EA-BC56-19B7DACF1B2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DE" dirty="0"/>
              <a:t>The </a:t>
            </a:r>
            <a:r>
              <a:rPr lang="en-DE" i="1" dirty="0"/>
              <a:t>OWASP</a:t>
            </a:r>
            <a:r>
              <a:rPr lang="en-DE" dirty="0"/>
              <a:t> Foundation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F348893-208F-B683-42A4-0A0A7516B5B0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sz="1600" dirty="0"/>
              <a:t>We are a global </a:t>
            </a:r>
            <a:r>
              <a:rPr lang="en-US" sz="1600" b="1" dirty="0"/>
              <a:t>not-for-profit charitable</a:t>
            </a:r>
            <a:r>
              <a:rPr lang="en-US" sz="1600" dirty="0"/>
              <a:t> organization.</a:t>
            </a:r>
          </a:p>
          <a:p>
            <a:r>
              <a:rPr lang="en-US" sz="1600" b="1" dirty="0"/>
              <a:t>Vendor-neutral</a:t>
            </a:r>
            <a:r>
              <a:rPr lang="en-US" sz="1600" dirty="0"/>
              <a:t> community.</a:t>
            </a:r>
          </a:p>
          <a:p>
            <a:r>
              <a:rPr lang="en-US" sz="1600" b="1" dirty="0"/>
              <a:t>Collective wisdom </a:t>
            </a:r>
            <a:r>
              <a:rPr lang="en-US" sz="1600" dirty="0"/>
              <a:t>of the</a:t>
            </a:r>
            <a:r>
              <a:rPr lang="en-US" sz="1600" b="1" dirty="0"/>
              <a:t> </a:t>
            </a:r>
            <a:r>
              <a:rPr lang="en-US" sz="1600" dirty="0"/>
              <a:t>best minds in application security worldwide.</a:t>
            </a:r>
          </a:p>
          <a:p>
            <a:r>
              <a:rPr lang="en-US" dirty="0"/>
              <a:t>Provide </a:t>
            </a:r>
            <a:r>
              <a:rPr lang="en-US" b="1" dirty="0"/>
              <a:t>free</a:t>
            </a:r>
            <a:r>
              <a:rPr lang="en-US" dirty="0"/>
              <a:t> tools, guidance, and documentation.</a:t>
            </a:r>
          </a:p>
          <a:p>
            <a:r>
              <a:rPr lang="en-US" sz="1600" dirty="0"/>
              <a:t>Relying on </a:t>
            </a:r>
            <a:r>
              <a:rPr lang="en-US" sz="1600" b="1" dirty="0"/>
              <a:t>donations</a:t>
            </a:r>
            <a:r>
              <a:rPr lang="en-US" sz="1600" dirty="0"/>
              <a:t>.</a:t>
            </a:r>
          </a:p>
          <a:p>
            <a:pPr lvl="2"/>
            <a:r>
              <a:rPr lang="en-US" dirty="0"/>
              <a:t>Corporations can become members, too.</a:t>
            </a:r>
          </a:p>
          <a:p>
            <a:r>
              <a:rPr lang="en-US" dirty="0"/>
              <a:t>Board of directors </a:t>
            </a:r>
            <a:r>
              <a:rPr lang="en-US" b="1" dirty="0"/>
              <a:t>elected by community</a:t>
            </a:r>
            <a:r>
              <a:rPr lang="en-US" dirty="0"/>
              <a:t>.</a:t>
            </a:r>
          </a:p>
          <a:p>
            <a:r>
              <a:rPr lang="en-US" sz="1600" dirty="0"/>
              <a:t>Board meetings </a:t>
            </a:r>
            <a:r>
              <a:rPr lang="en-US" sz="1600" b="1" dirty="0"/>
              <a:t>open to the pu</a:t>
            </a:r>
            <a:r>
              <a:rPr lang="en-US" b="1" dirty="0"/>
              <a:t>blic</a:t>
            </a:r>
            <a:r>
              <a:rPr lang="en-US" dirty="0"/>
              <a:t>.</a:t>
            </a:r>
          </a:p>
          <a:p>
            <a:pPr lvl="2"/>
            <a:r>
              <a:rPr lang="en-US" dirty="0">
                <a:hlinkClick r:id="rId3"/>
              </a:rPr>
              <a:t>https://owasp.org/www-board/</a:t>
            </a:r>
            <a:endParaRPr lang="en-US" dirty="0"/>
          </a:p>
          <a:p>
            <a:r>
              <a:rPr lang="en-US" dirty="0"/>
              <a:t>Sadly, no women elected to board. 🙈 </a:t>
            </a:r>
          </a:p>
          <a:p>
            <a:endParaRPr lang="en-DE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F199AB1-3EF7-ECF5-30CA-5EFB1620AC4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4F1CE2-0E02-2275-F280-A48C1993B90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23DAF7-8DE3-3234-111E-CFED352372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hat Is OWASP?</a:t>
            </a:r>
          </a:p>
        </p:txBody>
      </p:sp>
      <p:pic>
        <p:nvPicPr>
          <p:cNvPr id="11" name="Picture 10" descr="A person wearing glasses and a lanyard&#10;&#10;AI-generated content may be incorrect.">
            <a:extLst>
              <a:ext uri="{FF2B5EF4-FFF2-40B4-BE49-F238E27FC236}">
                <a16:creationId xmlns:a16="http://schemas.microsoft.com/office/drawing/2014/main" id="{BD5EDBB0-B740-4083-D9A5-F4B3A915AF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72764" y="4200204"/>
            <a:ext cx="1415924" cy="1415924"/>
          </a:xfrm>
          <a:prstGeom prst="ellipse">
            <a:avLst/>
          </a:prstGeom>
        </p:spPr>
      </p:pic>
      <p:pic>
        <p:nvPicPr>
          <p:cNvPr id="13" name="Picture 12" descr="A person wearing glasses and a white shirt&#10;&#10;AI-generated content may be incorrect.">
            <a:extLst>
              <a:ext uri="{FF2B5EF4-FFF2-40B4-BE49-F238E27FC236}">
                <a16:creationId xmlns:a16="http://schemas.microsoft.com/office/drawing/2014/main" id="{8D209E87-7490-04EF-4167-46324733DE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69276" y="4206720"/>
            <a:ext cx="1415925" cy="1437314"/>
          </a:xfrm>
          <a:prstGeom prst="ellipse">
            <a:avLst/>
          </a:prstGeom>
        </p:spPr>
      </p:pic>
      <p:pic>
        <p:nvPicPr>
          <p:cNvPr id="15" name="Picture 14" descr="A close-up of a person smiling&#10;&#10;AI-generated content may be incorrect.">
            <a:extLst>
              <a:ext uri="{FF2B5EF4-FFF2-40B4-BE49-F238E27FC236}">
                <a16:creationId xmlns:a16="http://schemas.microsoft.com/office/drawing/2014/main" id="{E2C4DA4C-1D4A-CE76-10A5-DFAA8220E0A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32743" y="4217415"/>
            <a:ext cx="1415925" cy="1415925"/>
          </a:xfrm>
          <a:prstGeom prst="ellipse">
            <a:avLst/>
          </a:prstGeom>
        </p:spPr>
      </p:pic>
      <p:pic>
        <p:nvPicPr>
          <p:cNvPr id="17" name="Picture 16" descr="A person wearing glasses and a maroon vest&#10;&#10;AI-generated content may be incorrect.">
            <a:extLst>
              <a:ext uri="{FF2B5EF4-FFF2-40B4-BE49-F238E27FC236}">
                <a16:creationId xmlns:a16="http://schemas.microsoft.com/office/drawing/2014/main" id="{5BC230A5-E197-398E-CEAF-ABCC6F6C57D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08632" y="4197663"/>
            <a:ext cx="1415925" cy="141592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BDC720F-E1D1-FFAD-2974-93D233CFAB29}"/>
              </a:ext>
            </a:extLst>
          </p:cNvPr>
          <p:cNvSpPr txBox="1"/>
          <p:nvPr/>
        </p:nvSpPr>
        <p:spPr>
          <a:xfrm>
            <a:off x="4508632" y="5769722"/>
            <a:ext cx="14159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/>
              <a:t>Ricardo Griffith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3C356B4-D81A-44A8-F1F0-EF6C6C2BEDDE}"/>
              </a:ext>
            </a:extLst>
          </p:cNvPr>
          <p:cNvSpPr txBox="1"/>
          <p:nvPr/>
        </p:nvSpPr>
        <p:spPr>
          <a:xfrm>
            <a:off x="6232742" y="5769722"/>
            <a:ext cx="14159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/>
              <a:t>Steve Springet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D28EF98-C413-DF18-BC9E-270FA4AFA800}"/>
              </a:ext>
            </a:extLst>
          </p:cNvPr>
          <p:cNvSpPr txBox="1"/>
          <p:nvPr/>
        </p:nvSpPr>
        <p:spPr>
          <a:xfrm>
            <a:off x="8023038" y="5763916"/>
            <a:ext cx="14159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/>
              <a:t>Harold Blankenship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CC0BD74-44E1-5092-A1F0-8B5C06BB05CC}"/>
              </a:ext>
            </a:extLst>
          </p:cNvPr>
          <p:cNvSpPr txBox="1"/>
          <p:nvPr/>
        </p:nvSpPr>
        <p:spPr>
          <a:xfrm>
            <a:off x="9747148" y="5763916"/>
            <a:ext cx="14159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/>
              <a:t>Sam Stepanya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45E5C72-D8F3-6FC8-C1A0-DF99D273B1AB}"/>
              </a:ext>
            </a:extLst>
          </p:cNvPr>
          <p:cNvSpPr txBox="1"/>
          <p:nvPr/>
        </p:nvSpPr>
        <p:spPr>
          <a:xfrm>
            <a:off x="4508632" y="3610580"/>
            <a:ext cx="6580056" cy="3747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100000"/>
            </a:pPr>
            <a:r>
              <a:rPr lang="en-DE" sz="2400" b="1" u="sng" dirty="0"/>
              <a:t>Current Board 2025:</a:t>
            </a:r>
          </a:p>
        </p:txBody>
      </p:sp>
    </p:spTree>
    <p:extLst>
      <p:ext uri="{BB962C8B-B14F-4D97-AF65-F5344CB8AC3E}">
        <p14:creationId xmlns:p14="http://schemas.microsoft.com/office/powerpoint/2010/main" val="3757373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D959CB-7BF2-78F8-33FE-C88D77659D3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AAAEA3-638B-EC29-75F0-3C1A6BF49E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DE" dirty="0"/>
              <a:t>These Corpotate Members Support </a:t>
            </a:r>
            <a:r>
              <a:rPr lang="en-DE" i="1" dirty="0"/>
              <a:t>OWASP</a:t>
            </a:r>
            <a:r>
              <a:rPr lang="en-DE" dirty="0"/>
              <a:t> at $5.000 Level Annualy (Silver)</a:t>
            </a:r>
          </a:p>
        </p:txBody>
      </p:sp>
      <p:pic>
        <p:nvPicPr>
          <p:cNvPr id="9" name="Content Placeholder 8" descr="A group of logos on a white background&#10;&#10;AI-generated content may be incorrect.">
            <a:extLst>
              <a:ext uri="{FF2B5EF4-FFF2-40B4-BE49-F238E27FC236}">
                <a16:creationId xmlns:a16="http://schemas.microsoft.com/office/drawing/2014/main" id="{6E907FBE-D4BC-41C9-FD64-EAA7E0CB9A2C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/>
          <a:srcRect t="11556"/>
          <a:stretch/>
        </p:blipFill>
        <p:spPr>
          <a:xfrm>
            <a:off x="1115095" y="1300283"/>
            <a:ext cx="9289032" cy="4640142"/>
          </a:xfr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4775F3-6099-E075-7FA1-E915E2900B6E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512F65-F40A-8E99-DFED-B6E9546E4EE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96EE868-D388-A65F-A16F-B0E937ECD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Contributing Members</a:t>
            </a:r>
          </a:p>
        </p:txBody>
      </p:sp>
    </p:spTree>
    <p:extLst>
      <p:ext uri="{BB962C8B-B14F-4D97-AF65-F5344CB8AC3E}">
        <p14:creationId xmlns:p14="http://schemas.microsoft.com/office/powerpoint/2010/main" val="1959350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p15="http://schemas.microsoft.com/office/powerpoint/2012/main" xmlns:a16="http://schemas.microsoft.com/office/drawing/2014/main" xmlns:adec="http://schemas.microsoft.com/office/drawing/2017/decorative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858015-093E-8D78-E265-C05CA04A11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05111D-EB7F-46FF-C1D3-E2E39A3C7D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661DA1A-AFAC-14C9-2ECC-69CF223A1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970C4D6-30CE-BA6A-F312-BA153C5F0C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DE" sz="1800" dirty="0"/>
              <a:t>Diamond Member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DE48356-755C-7A2E-AC1B-EAC17B867E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Contributing Members</a:t>
            </a:r>
          </a:p>
        </p:txBody>
      </p:sp>
      <p:pic>
        <p:nvPicPr>
          <p:cNvPr id="10" name="Grafik 2">
            <a:extLst>
              <a:ext uri="{FF2B5EF4-FFF2-40B4-BE49-F238E27FC236}">
                <a16:creationId xmlns:a16="http://schemas.microsoft.com/office/drawing/2014/main" id="{E2EF604B-E0F0-B094-27AE-4D277454BD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9260" y="1444572"/>
            <a:ext cx="2949718" cy="983239"/>
          </a:xfrm>
          <a:prstGeom prst="rect">
            <a:avLst/>
          </a:prstGeom>
        </p:spPr>
      </p:pic>
      <p:pic>
        <p:nvPicPr>
          <p:cNvPr id="11" name="Grafik 4">
            <a:extLst>
              <a:ext uri="{FF2B5EF4-FFF2-40B4-BE49-F238E27FC236}">
                <a16:creationId xmlns:a16="http://schemas.microsoft.com/office/drawing/2014/main" id="{A0656BE4-B2DF-BB79-C103-9A5359E3F5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4194" y="1580170"/>
            <a:ext cx="3518080" cy="731761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4227CB9-4949-18CE-6E1E-DB2BC3E506B1}"/>
              </a:ext>
            </a:extLst>
          </p:cNvPr>
          <p:cNvSpPr txBox="1">
            <a:spLocks/>
          </p:cNvSpPr>
          <p:nvPr/>
        </p:nvSpPr>
        <p:spPr>
          <a:xfrm>
            <a:off x="359011" y="2785925"/>
            <a:ext cx="9432000" cy="288000"/>
          </a:xfrm>
          <a:prstGeom prst="rect">
            <a:avLst/>
          </a:prstGeom>
        </p:spPr>
        <p:txBody>
          <a:bodyPr vert="horz" lIns="3240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tabLst>
                <a:tab pos="2687638" algn="l"/>
                <a:tab pos="3451225" algn="r"/>
                <a:tab pos="3887788" algn="l"/>
                <a:tab pos="7339013" algn="r"/>
                <a:tab pos="7775575" algn="l"/>
                <a:tab pos="11228388" algn="r"/>
              </a:tabLst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tabLst>
                <a:tab pos="3452400" algn="r"/>
                <a:tab pos="3888000" algn="l"/>
                <a:tab pos="7340400" algn="r"/>
                <a:tab pos="7776000" algn="l"/>
                <a:tab pos="11228400" algn="r"/>
              </a:tabLst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tabLst>
                <a:tab pos="3452400" algn="r"/>
                <a:tab pos="3888000" algn="l"/>
                <a:tab pos="7340400" algn="r"/>
                <a:tab pos="7776000" algn="l"/>
                <a:tab pos="11228400" algn="r"/>
              </a:tabLst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0" marR="0" indent="0" algn="l" defTabSz="914400" rtl="0" eaLnBrk="1" fontAlgn="auto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None/>
              <a:tabLst>
                <a:tab pos="3452400" algn="r"/>
                <a:tab pos="3888000" algn="l"/>
                <a:tab pos="7340400" algn="r"/>
                <a:tab pos="7776000" algn="l"/>
                <a:tab pos="11228400" algn="r"/>
              </a:tabLst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None/>
              <a:tabLst>
                <a:tab pos="3452400" algn="r"/>
                <a:tab pos="3888000" algn="l"/>
                <a:tab pos="7340400" algn="r"/>
                <a:tab pos="7776000" algn="l"/>
                <a:tab pos="11228400" algn="r"/>
              </a:tabLst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tabLst>
                <a:tab pos="3452400" algn="r"/>
                <a:tab pos="3888000" algn="l"/>
                <a:tab pos="7340400" algn="r"/>
                <a:tab pos="7776000" algn="l"/>
                <a:tab pos="11228400" algn="r"/>
              </a:tabLst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 dirty="0"/>
              <a:t>Platinum Members</a:t>
            </a:r>
          </a:p>
        </p:txBody>
      </p:sp>
      <p:pic>
        <p:nvPicPr>
          <p:cNvPr id="14" name="Grafik 6">
            <a:extLst>
              <a:ext uri="{FF2B5EF4-FFF2-40B4-BE49-F238E27FC236}">
                <a16:creationId xmlns:a16="http://schemas.microsoft.com/office/drawing/2014/main" id="{C1E69CE1-7DDF-1D24-EF57-BD91C92E48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23049" y="3271369"/>
            <a:ext cx="1939336" cy="540000"/>
          </a:xfrm>
          <a:prstGeom prst="rect">
            <a:avLst/>
          </a:prstGeom>
        </p:spPr>
      </p:pic>
      <p:pic>
        <p:nvPicPr>
          <p:cNvPr id="15" name="Grafik 8">
            <a:extLst>
              <a:ext uri="{FF2B5EF4-FFF2-40B4-BE49-F238E27FC236}">
                <a16:creationId xmlns:a16="http://schemas.microsoft.com/office/drawing/2014/main" id="{A27FABA3-F1F9-6316-F666-89810130BD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83647" y="3261788"/>
            <a:ext cx="1800000" cy="540000"/>
          </a:xfrm>
          <a:prstGeom prst="rect">
            <a:avLst/>
          </a:prstGeom>
        </p:spPr>
      </p:pic>
      <p:pic>
        <p:nvPicPr>
          <p:cNvPr id="16" name="Grafik 10">
            <a:extLst>
              <a:ext uri="{FF2B5EF4-FFF2-40B4-BE49-F238E27FC236}">
                <a16:creationId xmlns:a16="http://schemas.microsoft.com/office/drawing/2014/main" id="{4BF87903-5EF1-75CE-182E-CC5D90AEC1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58252" y="3845637"/>
            <a:ext cx="1148108" cy="540000"/>
          </a:xfrm>
          <a:prstGeom prst="rect">
            <a:avLst/>
          </a:prstGeom>
        </p:spPr>
      </p:pic>
      <p:pic>
        <p:nvPicPr>
          <p:cNvPr id="17" name="Grafik 12">
            <a:extLst>
              <a:ext uri="{FF2B5EF4-FFF2-40B4-BE49-F238E27FC236}">
                <a16:creationId xmlns:a16="http://schemas.microsoft.com/office/drawing/2014/main" id="{4D1FA4B6-218E-9B8E-6EE6-017E0B8C92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07571" y="3376650"/>
            <a:ext cx="1852919" cy="353442"/>
          </a:xfrm>
          <a:prstGeom prst="rect">
            <a:avLst/>
          </a:prstGeom>
        </p:spPr>
      </p:pic>
      <p:pic>
        <p:nvPicPr>
          <p:cNvPr id="18" name="Grafik 14">
            <a:extLst>
              <a:ext uri="{FF2B5EF4-FFF2-40B4-BE49-F238E27FC236}">
                <a16:creationId xmlns:a16="http://schemas.microsoft.com/office/drawing/2014/main" id="{81DC11AC-EF74-CE2F-DDD1-1DDC181D17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94502" y="3980930"/>
            <a:ext cx="2383972" cy="269414"/>
          </a:xfrm>
          <a:prstGeom prst="rect">
            <a:avLst/>
          </a:prstGeom>
        </p:spPr>
      </p:pic>
      <p:pic>
        <p:nvPicPr>
          <p:cNvPr id="19" name="Grafik 16">
            <a:extLst>
              <a:ext uri="{FF2B5EF4-FFF2-40B4-BE49-F238E27FC236}">
                <a16:creationId xmlns:a16="http://schemas.microsoft.com/office/drawing/2014/main" id="{56CF2E7F-7111-C667-E4D4-D9D5DD54388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32701" y="3891920"/>
            <a:ext cx="1852919" cy="434660"/>
          </a:xfrm>
          <a:prstGeom prst="rect">
            <a:avLst/>
          </a:prstGeom>
        </p:spPr>
      </p:pic>
      <p:pic>
        <p:nvPicPr>
          <p:cNvPr id="20" name="Grafik 18">
            <a:extLst>
              <a:ext uri="{FF2B5EF4-FFF2-40B4-BE49-F238E27FC236}">
                <a16:creationId xmlns:a16="http://schemas.microsoft.com/office/drawing/2014/main" id="{53891EFA-D054-56A9-1A85-46546140370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01470" y="4501183"/>
            <a:ext cx="1843780" cy="553134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E2B3C473-608D-4825-37BB-EC8BB67B820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95129" y="4522052"/>
            <a:ext cx="1715510" cy="540000"/>
          </a:xfrm>
          <a:prstGeom prst="rect">
            <a:avLst/>
          </a:prstGeom>
        </p:spPr>
      </p:pic>
      <p:pic>
        <p:nvPicPr>
          <p:cNvPr id="22" name="Grafik 23">
            <a:extLst>
              <a:ext uri="{FF2B5EF4-FFF2-40B4-BE49-F238E27FC236}">
                <a16:creationId xmlns:a16="http://schemas.microsoft.com/office/drawing/2014/main" id="{654738C9-450E-859E-B11D-48DCFF99D2F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60519" y="4385052"/>
            <a:ext cx="956594" cy="669266"/>
          </a:xfrm>
          <a:prstGeom prst="rect">
            <a:avLst/>
          </a:prstGeom>
        </p:spPr>
      </p:pic>
      <p:pic>
        <p:nvPicPr>
          <p:cNvPr id="23" name="Grafik 25">
            <a:extLst>
              <a:ext uri="{FF2B5EF4-FFF2-40B4-BE49-F238E27FC236}">
                <a16:creationId xmlns:a16="http://schemas.microsoft.com/office/drawing/2014/main" id="{CA46C2E6-7D90-C283-B0A7-94B5D36E2BC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778212" y="3346044"/>
            <a:ext cx="1600200" cy="38404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34DF1DE8-D8D3-C7B0-995C-BF8CEB55B465}"/>
              </a:ext>
            </a:extLst>
          </p:cNvPr>
          <p:cNvSpPr txBox="1"/>
          <p:nvPr/>
        </p:nvSpPr>
        <p:spPr>
          <a:xfrm>
            <a:off x="358729" y="5544120"/>
            <a:ext cx="10837483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SzPct val="100000"/>
            </a:pPr>
            <a:r>
              <a:rPr lang="en-DE" sz="1600" dirty="0"/>
              <a:t>Become a member and support OWASP: </a:t>
            </a:r>
            <a:r>
              <a:rPr lang="en-GB" sz="1600" dirty="0">
                <a:hlinkClick r:id="rId14"/>
              </a:rPr>
              <a:t>https://owasp.org/supporters/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401526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p15="http://schemas.microsoft.com/office/powerpoint/2012/main" xmlns:a16="http://schemas.microsoft.com/office/drawing/2014/main" xmlns:adec="http://schemas.microsoft.com/office/drawing/2017/decorative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C1655CC5-0C18-6634-3D25-904DC06EC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WASP Projec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B77CB55-D444-C717-CC8A-BD071D81C6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E" dirty="0"/>
              <a:t>There is way more than OWASP Top 10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7A5188-55CD-4A15-F04B-41CE3A6EA0E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29F3F4-9223-5A93-A6E0-F39FDB3E52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8831CB-14C8-0E4F-C3F5-DC899B8D3B5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3568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539BD5-19F2-A356-B44C-F4E1CD5E5B7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 rot="16200000">
            <a:off x="11088494" y="5184088"/>
            <a:ext cx="720080" cy="14400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07.04.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EE963E-7A11-AC49-0C87-FCFF9366041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 rot="16200000">
            <a:off x="9882077" y="3077854"/>
            <a:ext cx="3132348" cy="144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WASP – Much More Than Just OWASP Top 1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D15A8-9E0E-B286-E537-1E724795F7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96213" y="5831863"/>
            <a:ext cx="288033" cy="144305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F86FCC4D-0438-154F-9910-1CF4711F776F}" type="slidenum">
              <a:rPr lang="de-DE" smtClean="0"/>
              <a:pPr>
                <a:spcAft>
                  <a:spcPts val="600"/>
                </a:spcAft>
              </a:pPr>
              <a:t>14</a:t>
            </a:fld>
            <a:endParaRPr lang="de-DE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EE1E2C9-2164-5AA4-B34C-1138328D8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87" y="1584354"/>
            <a:ext cx="6588460" cy="4355354"/>
          </a:xfrm>
        </p:spPr>
        <p:txBody>
          <a:bodyPr>
            <a:normAutofit/>
          </a:bodyPr>
          <a:lstStyle/>
          <a:p>
            <a:r>
              <a:rPr lang="en-DE" dirty="0"/>
              <a:t>“We use </a:t>
            </a:r>
            <a:r>
              <a:rPr lang="en-DE" i="1" dirty="0"/>
              <a:t>OWASP</a:t>
            </a:r>
            <a:r>
              <a:rPr lang="en-DE" dirty="0"/>
              <a:t>, we’re secure!”</a:t>
            </a:r>
          </a:p>
          <a:p>
            <a:r>
              <a:rPr lang="en-DE" dirty="0"/>
              <a:t>“We do </a:t>
            </a:r>
            <a:r>
              <a:rPr lang="en-DE" i="1" dirty="0"/>
              <a:t>OWASP</a:t>
            </a:r>
            <a:r>
              <a:rPr lang="en-DE" dirty="0"/>
              <a:t> penetration testing!”</a:t>
            </a:r>
          </a:p>
          <a:p>
            <a:r>
              <a:rPr lang="en-DE" dirty="0"/>
              <a:t>“We cover all risks of </a:t>
            </a:r>
            <a:r>
              <a:rPr lang="en-DE" i="1" dirty="0"/>
              <a:t>OWASP Top 10</a:t>
            </a:r>
            <a:r>
              <a:rPr lang="en-DE" dirty="0"/>
              <a:t>, we’re secure!”</a:t>
            </a:r>
          </a:p>
          <a:p>
            <a:r>
              <a:rPr lang="en-GB" dirty="0"/>
              <a:t>A requirement for a real invitation to tender</a:t>
            </a:r>
            <a:r>
              <a:rPr lang="en-DE" dirty="0"/>
              <a:t>: </a:t>
            </a:r>
            <a:br>
              <a:rPr lang="en-DE" dirty="0"/>
            </a:br>
            <a:r>
              <a:rPr lang="en-DE" dirty="0"/>
              <a:t>“You must be </a:t>
            </a:r>
            <a:r>
              <a:rPr lang="en-DE" i="1" dirty="0"/>
              <a:t>OWASP Top 10</a:t>
            </a:r>
            <a:r>
              <a:rPr lang="en-DE" dirty="0"/>
              <a:t> certifierd.” 😂</a:t>
            </a:r>
          </a:p>
          <a:p>
            <a:r>
              <a:rPr lang="en-GB" dirty="0"/>
              <a:t>Pro-Tipp: If someone wants to sell you an </a:t>
            </a:r>
            <a:r>
              <a:rPr lang="en-GB" i="1" dirty="0"/>
              <a:t>OWASP</a:t>
            </a:r>
            <a:r>
              <a:rPr lang="en-GB" dirty="0"/>
              <a:t> certificate, </a:t>
            </a:r>
            <a:br>
              <a:rPr lang="en-GB" dirty="0"/>
            </a:br>
            <a:r>
              <a:rPr lang="en-GB" dirty="0"/>
              <a:t>then go ahead and find someone who knows! </a:t>
            </a:r>
          </a:p>
          <a:p>
            <a:endParaRPr lang="en-DE" dirty="0"/>
          </a:p>
          <a:p>
            <a:pPr lvl="1"/>
            <a:r>
              <a:rPr lang="en-DE" b="1" dirty="0"/>
              <a:t>BTW</a:t>
            </a:r>
            <a:r>
              <a:rPr lang="en-DE" dirty="0"/>
              <a:t>: </a:t>
            </a:r>
            <a:br>
              <a:rPr lang="en-DE" dirty="0"/>
            </a:br>
            <a:r>
              <a:rPr lang="en-DE" dirty="0"/>
              <a:t>10 years ago “cyber” was an i</a:t>
            </a:r>
            <a:r>
              <a:rPr lang="en-GB" dirty="0" err="1"/>
              <a:t>ndicator</a:t>
            </a:r>
            <a:r>
              <a:rPr lang="en-GB" dirty="0"/>
              <a:t> for people who have no clue. 🤓</a:t>
            </a:r>
            <a:endParaRPr lang="en-DE" dirty="0"/>
          </a:p>
        </p:txBody>
      </p:sp>
      <p:pic>
        <p:nvPicPr>
          <p:cNvPr id="12" name="Content Placeholder 11" descr="A person in a suit&#10;&#10;AI-generated content may be incorrect.">
            <a:extLst>
              <a:ext uri="{FF2B5EF4-FFF2-40B4-BE49-F238E27FC236}">
                <a16:creationId xmlns:a16="http://schemas.microsoft.com/office/drawing/2014/main" id="{C9AF6DB0-3ECC-5B1D-0BEC-1AFD0718C18F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2"/>
          <a:stretch>
            <a:fillRect/>
          </a:stretch>
        </p:blipFill>
        <p:spPr>
          <a:xfrm>
            <a:off x="7775574" y="2105688"/>
            <a:ext cx="3313114" cy="3313114"/>
          </a:xfrm>
          <a:noFill/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5EDA928-D19E-8165-CB65-FDCF4EC5FC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9011" y="968400"/>
            <a:ext cx="6624736" cy="288000"/>
          </a:xfrm>
        </p:spPr>
        <p:txBody>
          <a:bodyPr>
            <a:normAutofit/>
          </a:bodyPr>
          <a:lstStyle/>
          <a:p>
            <a:r>
              <a:rPr lang="en-GB" dirty="0"/>
              <a:t>You got that wrong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E0639D5-A23A-E038-700B-5B21D873F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011" y="249151"/>
            <a:ext cx="6624736" cy="648000"/>
          </a:xfrm>
        </p:spPr>
        <p:txBody>
          <a:bodyPr anchor="t">
            <a:normAutofit/>
          </a:bodyPr>
          <a:lstStyle/>
          <a:p>
            <a:r>
              <a:rPr lang="en-DE" dirty="0"/>
              <a:t>OWASP Projects</a:t>
            </a:r>
          </a:p>
        </p:txBody>
      </p:sp>
    </p:spTree>
    <p:extLst>
      <p:ext uri="{BB962C8B-B14F-4D97-AF65-F5344CB8AC3E}">
        <p14:creationId xmlns:p14="http://schemas.microsoft.com/office/powerpoint/2010/main" val="801983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34D7A1-5B78-74EF-E950-68A741C53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EBA1FF-5FB0-EC33-1ABA-FCB05DFBDFF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 rot="16200000">
            <a:off x="11088494" y="5184088"/>
            <a:ext cx="720080" cy="14400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07.04.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37C317-96A1-B63A-2FAC-17B3E386ED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 rot="16200000">
            <a:off x="9882077" y="3077854"/>
            <a:ext cx="3132348" cy="144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WASP – Much More Than Just OWASP Top 1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3CB18B-12A4-599E-5AB5-34D3EDA23FB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96213" y="5831863"/>
            <a:ext cx="288033" cy="144305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F86FCC4D-0438-154F-9910-1CF4711F776F}" type="slidenum">
              <a:rPr lang="de-DE" smtClean="0"/>
              <a:pPr>
                <a:spcAft>
                  <a:spcPts val="600"/>
                </a:spcAft>
              </a:pPr>
              <a:t>15</a:t>
            </a:fld>
            <a:endParaRPr lang="de-DE"/>
          </a:p>
        </p:txBody>
      </p:sp>
      <p:pic>
        <p:nvPicPr>
          <p:cNvPr id="10" name="Content Placeholder 9" descr="A diagram of a number of text&#10;&#10;AI-generated content may be incorrect.">
            <a:extLst>
              <a:ext uri="{FF2B5EF4-FFF2-40B4-BE49-F238E27FC236}">
                <a16:creationId xmlns:a16="http://schemas.microsoft.com/office/drawing/2014/main" id="{7223BF8D-E8C3-BDD8-52B3-170F1D94506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359011" y="1655688"/>
            <a:ext cx="6588460" cy="1811826"/>
          </a:xfrm>
          <a:noFill/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D24174C-DD3A-0247-B891-BAB9132F11D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7775574" y="1584326"/>
            <a:ext cx="3313114" cy="4355838"/>
          </a:xfrm>
        </p:spPr>
        <p:txBody>
          <a:bodyPr>
            <a:normAutofit/>
          </a:bodyPr>
          <a:lstStyle/>
          <a:p>
            <a:r>
              <a:rPr lang="en-DE" dirty="0"/>
              <a:t>An opinionated list of most comon failures seen in (web) apps</a:t>
            </a:r>
          </a:p>
          <a:p>
            <a:pPr lvl="2"/>
            <a:r>
              <a:rPr lang="en-DE" dirty="0"/>
              <a:t>Most of them you can also find in IoT, desktop apps, etc.</a:t>
            </a:r>
          </a:p>
          <a:p>
            <a:pPr lvl="2"/>
            <a:r>
              <a:rPr lang="en-GB" b="1" dirty="0">
                <a:solidFill>
                  <a:schemeClr val="accent2"/>
                </a:solidFill>
              </a:rPr>
              <a:t>Largely applicable to non-web apps</a:t>
            </a:r>
            <a:r>
              <a:rPr lang="en-GB" dirty="0"/>
              <a:t>.</a:t>
            </a:r>
            <a:endParaRPr lang="en-DE" dirty="0"/>
          </a:p>
          <a:p>
            <a:r>
              <a:rPr lang="en-DE" dirty="0"/>
              <a:t>Data from static code analysis of 12 manufacturers/service providers.</a:t>
            </a:r>
          </a:p>
          <a:p>
            <a:r>
              <a:rPr lang="en-DE" dirty="0"/>
              <a:t>The ranking is done by open survey of “experts”.</a:t>
            </a:r>
          </a:p>
          <a:p>
            <a:r>
              <a:rPr lang="en-GB" b="1" dirty="0">
                <a:solidFill>
                  <a:schemeClr val="accent2"/>
                </a:solidFill>
              </a:rPr>
              <a:t>There is no science behind it</a:t>
            </a:r>
            <a:r>
              <a:rPr lang="en-DE" dirty="0">
                <a:solidFill>
                  <a:schemeClr val="accent2"/>
                </a:solidFill>
              </a:rPr>
              <a:t>!</a:t>
            </a:r>
          </a:p>
          <a:p>
            <a:r>
              <a:rPr lang="en-GB" dirty="0">
                <a:solidFill>
                  <a:schemeClr val="accent3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wasp.org/www-project-top-ten/</a:t>
            </a:r>
            <a:endParaRPr lang="en-DE" dirty="0">
              <a:solidFill>
                <a:schemeClr val="accent3"/>
              </a:solidFill>
            </a:endParaRPr>
          </a:p>
          <a:p>
            <a:endParaRPr lang="en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2114D75-81D6-C3BC-1DCF-84A9F95724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9011" y="968400"/>
            <a:ext cx="6624736" cy="288000"/>
          </a:xfrm>
        </p:spPr>
        <p:txBody>
          <a:bodyPr>
            <a:normAutofit/>
          </a:bodyPr>
          <a:lstStyle/>
          <a:p>
            <a:r>
              <a:rPr lang="en-GB" dirty="0"/>
              <a:t>Top 10 Web Application Security Risks aka. </a:t>
            </a:r>
            <a:r>
              <a:rPr lang="en-DE" dirty="0"/>
              <a:t>OWASP Top 10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0D77A3A-50AB-89DC-0230-BA832E264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011" y="249151"/>
            <a:ext cx="6624736" cy="648000"/>
          </a:xfrm>
        </p:spPr>
        <p:txBody>
          <a:bodyPr anchor="t">
            <a:normAutofit/>
          </a:bodyPr>
          <a:lstStyle/>
          <a:p>
            <a:r>
              <a:rPr lang="en-DE" dirty="0"/>
              <a:t>OWASP Projec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56140F-263B-BEA3-4414-A18304AA6A63}"/>
              </a:ext>
            </a:extLst>
          </p:cNvPr>
          <p:cNvSpPr txBox="1"/>
          <p:nvPr/>
        </p:nvSpPr>
        <p:spPr>
          <a:xfrm>
            <a:off x="539031" y="3639631"/>
            <a:ext cx="6336704" cy="2336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100000"/>
            </a:pPr>
            <a:r>
              <a:rPr lang="en-DE" sz="1600" b="1" dirty="0"/>
              <a:t>Use it for</a:t>
            </a:r>
          </a:p>
          <a:p>
            <a:pPr marL="216000" indent="-216000" algn="l">
              <a:lnSpc>
                <a:spcPct val="11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GB" sz="1600" dirty="0"/>
              <a:t>security a</a:t>
            </a:r>
            <a:r>
              <a:rPr lang="en-DE" sz="1600" dirty="0"/>
              <a:t>wareness,</a:t>
            </a:r>
          </a:p>
          <a:p>
            <a:pPr marL="216000" indent="-216000" algn="l">
              <a:lnSpc>
                <a:spcPct val="11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GB" sz="1600" dirty="0"/>
              <a:t>security t</a:t>
            </a:r>
            <a:r>
              <a:rPr lang="en-DE" sz="1600" dirty="0"/>
              <a:t>raining, </a:t>
            </a:r>
          </a:p>
          <a:p>
            <a:pPr marL="216000" indent="-216000" algn="l">
              <a:lnSpc>
                <a:spcPct val="11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DE" sz="1600" dirty="0"/>
              <a:t>and push left security.</a:t>
            </a:r>
          </a:p>
          <a:p>
            <a:pPr algn="l">
              <a:lnSpc>
                <a:spcPct val="110000"/>
              </a:lnSpc>
              <a:spcBef>
                <a:spcPts val="600"/>
              </a:spcBef>
              <a:buSzPct val="100000"/>
            </a:pPr>
            <a:r>
              <a:rPr lang="en-DE" sz="1600" b="1" dirty="0"/>
              <a:t>Don’t use it for anything else</a:t>
            </a:r>
            <a:r>
              <a:rPr lang="en-DE" sz="1600" dirty="0"/>
              <a:t>!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en-DE" sz="1600" dirty="0"/>
              <a:t>Pentesting </a:t>
            </a:r>
            <a:r>
              <a:rPr lang="en-DE" sz="1600" dirty="0">
                <a:sym typeface="Wingdings" pitchFamily="2" charset="2"/>
              </a:rPr>
              <a:t> </a:t>
            </a:r>
            <a:r>
              <a:rPr lang="en-DE" sz="1600" dirty="0">
                <a:sym typeface="Wingdings" pitchFamily="2" charset="2"/>
                <a:hlinkClick r:id="rId4"/>
              </a:rPr>
              <a:t>OWASP Web Security Testing Guide</a:t>
            </a:r>
            <a:endParaRPr lang="en-DE" sz="1600" dirty="0">
              <a:sym typeface="Wingdings" pitchFamily="2" charset="2"/>
            </a:endParaRP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en-DE" sz="1600" dirty="0">
                <a:sym typeface="Wingdings" pitchFamily="2" charset="2"/>
              </a:rPr>
              <a:t>Compliance  </a:t>
            </a:r>
            <a:r>
              <a:rPr lang="en-DE" sz="1600" dirty="0">
                <a:sym typeface="Wingdings" pitchFamily="2" charset="2"/>
                <a:hlinkClick r:id="rId5"/>
              </a:rPr>
              <a:t>OWASP ASVS</a:t>
            </a:r>
            <a:r>
              <a:rPr lang="en-DE" sz="1600" dirty="0">
                <a:sym typeface="Wingdings" pitchFamily="2" charset="2"/>
              </a:rPr>
              <a:t>, </a:t>
            </a:r>
            <a:r>
              <a:rPr lang="en-DE" sz="1600" dirty="0">
                <a:sym typeface="Wingdings" pitchFamily="2" charset="2"/>
                <a:hlinkClick r:id="rId6"/>
              </a:rPr>
              <a:t>OWASP SAMM</a:t>
            </a:r>
            <a:r>
              <a:rPr lang="en-DE" sz="1600" dirty="0">
                <a:sym typeface="Wingdings" pitchFamily="2" charset="2"/>
              </a:rPr>
              <a:t>, </a:t>
            </a:r>
            <a:r>
              <a:rPr lang="en-DE" sz="1600" dirty="0">
                <a:sym typeface="Wingdings" pitchFamily="2" charset="2"/>
                <a:hlinkClick r:id="rId7"/>
              </a:rPr>
              <a:t>OWASP DSOMM</a:t>
            </a:r>
            <a:endParaRPr lang="en-DE" sz="1600" dirty="0"/>
          </a:p>
        </p:txBody>
      </p:sp>
    </p:spTree>
    <p:extLst>
      <p:ext uri="{BB962C8B-B14F-4D97-AF65-F5344CB8AC3E}">
        <p14:creationId xmlns:p14="http://schemas.microsoft.com/office/powerpoint/2010/main" val="3017052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EFFBAC-9D91-9A4C-C31D-EB5CBBA61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ome More Projec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ED3150-9BFB-8672-A49A-71C7AFF667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Just a Short, Opinionated Excerpt</a:t>
            </a:r>
            <a:endParaRPr lang="en-DE" dirty="0"/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172D8F9F-22CA-A21D-7175-63C3EC73DBDD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/>
          <a:srcRect l="8531" r="8531"/>
          <a:stretch>
            <a:fillRect/>
          </a:stretch>
        </p:blipFill>
        <p:spPr/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B5EC18-4983-48C1-7BD4-1D9AB385E8D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896FA0F-7FFD-6AA0-3916-1A18461AEF1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93F4346-211F-1091-0F8C-27168F74595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D4A015B-9926-051B-F2A0-4A64266FF3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5355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BC3847-6141-27E5-636E-94A6321E4D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0796CB-A918-AC73-D828-3D0D253B44A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0151B8-7F0A-007E-646D-1016EE8C57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0095078-324D-7211-308C-CA11B715102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93817D-45B4-AFD8-1CC5-440DB68401F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/>
              <a:t>Comprehensive guide to testing the security of </a:t>
            </a:r>
            <a:br>
              <a:rPr lang="en-GB" dirty="0"/>
            </a:br>
            <a:r>
              <a:rPr lang="en-GB" dirty="0"/>
              <a:t>web applications and web services.</a:t>
            </a:r>
          </a:p>
          <a:p>
            <a:r>
              <a:rPr lang="en-GB" dirty="0"/>
              <a:t>Learn to hack yourself.</a:t>
            </a:r>
          </a:p>
          <a:p>
            <a:r>
              <a:rPr lang="en-GB" dirty="0"/>
              <a:t>Use as test plan for penetration tests.</a:t>
            </a:r>
          </a:p>
          <a:p>
            <a:r>
              <a:rPr lang="en-GB" dirty="0"/>
              <a:t>I’m not an OFFSEC guy. 😬</a:t>
            </a:r>
          </a:p>
          <a:p>
            <a:r>
              <a:rPr lang="en-GB" dirty="0">
                <a:hlinkClick r:id="rId2"/>
              </a:rPr>
              <a:t>https://owasp.org/www-project-web-security-testing-guide/</a:t>
            </a:r>
            <a:endParaRPr lang="en-GB" dirty="0"/>
          </a:p>
          <a:p>
            <a:endParaRPr lang="en-DE" dirty="0"/>
          </a:p>
        </p:txBody>
      </p:sp>
      <p:pic>
        <p:nvPicPr>
          <p:cNvPr id="10" name="Content Placeholder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3AC6ACA-9FC0-7408-B486-80C4317701B9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3"/>
          <a:stretch>
            <a:fillRect/>
          </a:stretch>
        </p:blipFill>
        <p:spPr>
          <a:xfrm>
            <a:off x="6280659" y="1584325"/>
            <a:ext cx="4467794" cy="43561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825FE2-1290-7203-D684-837DD7CBA2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OWASP Web Security Testing Guide (WSTG)</a:t>
            </a:r>
            <a:endParaRPr lang="en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58E4A3A-04BD-F1B1-27E6-F7A8D0F80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WASP Projects</a:t>
            </a:r>
          </a:p>
        </p:txBody>
      </p:sp>
    </p:spTree>
    <p:extLst>
      <p:ext uri="{BB962C8B-B14F-4D97-AF65-F5344CB8AC3E}">
        <p14:creationId xmlns:p14="http://schemas.microsoft.com/office/powerpoint/2010/main" val="3992302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BE2BC1-416C-609D-0E84-5008116798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B94B71-7BBB-8042-BFF5-CDA247F221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120FC2-1F30-6003-44D4-377F1A20EC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101ECBF-776D-2CFD-4E21-A46DFFFBDC0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7B5B9D-11B9-A760-8349-F2961D88E659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/>
              <a:t>Framework of security requirements.</a:t>
            </a:r>
          </a:p>
          <a:p>
            <a:r>
              <a:rPr lang="en-GB" dirty="0"/>
              <a:t>Focus on security controls required when designing.</a:t>
            </a:r>
          </a:p>
          <a:p>
            <a:r>
              <a:rPr lang="en-GB" dirty="0"/>
              <a:t>Comprehensive list of security requirements</a:t>
            </a:r>
          </a:p>
          <a:p>
            <a:pPr lvl="2"/>
            <a:r>
              <a:rPr lang="en-GB" dirty="0"/>
              <a:t>divided by protection level and</a:t>
            </a:r>
          </a:p>
          <a:p>
            <a:pPr lvl="2"/>
            <a:r>
              <a:rPr lang="en-GB" dirty="0"/>
              <a:t>grouped by topics (e.g. authentication, session management, input validation etc.).</a:t>
            </a:r>
          </a:p>
          <a:p>
            <a:r>
              <a:rPr lang="en-GB" dirty="0"/>
              <a:t>Also useful for </a:t>
            </a:r>
          </a:p>
          <a:p>
            <a:pPr lvl="2"/>
            <a:r>
              <a:rPr lang="en-GB" dirty="0"/>
              <a:t>governance or</a:t>
            </a:r>
          </a:p>
          <a:p>
            <a:pPr lvl="2"/>
            <a:r>
              <a:rPr lang="en-GB" dirty="0"/>
              <a:t>checklist.</a:t>
            </a:r>
            <a:endParaRPr lang="en-GB" dirty="0">
              <a:hlinkClick r:id="rId2"/>
            </a:endParaRPr>
          </a:p>
          <a:p>
            <a:r>
              <a:rPr lang="en-GB" dirty="0">
                <a:hlinkClick r:id="rId2"/>
              </a:rPr>
              <a:t>https://owasp.org/www-project-application-security-verification-standard/</a:t>
            </a:r>
            <a:endParaRPr lang="en-GB" dirty="0"/>
          </a:p>
          <a:p>
            <a:endParaRPr lang="en-DE" dirty="0"/>
          </a:p>
        </p:txBody>
      </p:sp>
      <p:pic>
        <p:nvPicPr>
          <p:cNvPr id="10" name="Content Placeholder 9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9D894A69-6048-23ED-FF62-DE37C53D6FDD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3"/>
          <a:stretch>
            <a:fillRect/>
          </a:stretch>
        </p:blipFill>
        <p:spPr>
          <a:xfrm>
            <a:off x="6049332" y="1584325"/>
            <a:ext cx="4930448" cy="43561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65786A-37BB-058D-79D8-B3974EA04E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OWASP Application Security Verification Standard (ASVS)</a:t>
            </a:r>
            <a:endParaRPr lang="en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E33A2BC-A967-DC09-DC88-452DBC2F1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WASP Projects</a:t>
            </a:r>
          </a:p>
        </p:txBody>
      </p:sp>
    </p:spTree>
    <p:extLst>
      <p:ext uri="{BB962C8B-B14F-4D97-AF65-F5344CB8AC3E}">
        <p14:creationId xmlns:p14="http://schemas.microsoft.com/office/powerpoint/2010/main" val="16800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1340BB-EF96-9F71-97A0-9CD416FD34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BF397F-16B4-ADBF-10B1-F57EF8830B8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27EDBF-A05B-57C1-31C9-F4907A1333C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B38BD17-5DD6-01EB-337B-D1F827F7A6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DAA5F0-E0AF-3877-5248-58E1C342E50F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/>
              <a:t>Effective and measurable way for you to analyse and improve your secure development lifecycle.</a:t>
            </a:r>
          </a:p>
          <a:p>
            <a:r>
              <a:rPr lang="en-GB" dirty="0"/>
              <a:t>Very mature.</a:t>
            </a:r>
          </a:p>
          <a:p>
            <a:r>
              <a:rPr lang="en-GB" dirty="0"/>
              <a:t>Push security left.</a:t>
            </a:r>
          </a:p>
          <a:p>
            <a:r>
              <a:rPr lang="en-GB" dirty="0"/>
              <a:t>But…</a:t>
            </a:r>
          </a:p>
          <a:p>
            <a:pPr lvl="2"/>
            <a:r>
              <a:rPr lang="en-GB" dirty="0"/>
              <a:t>may need organization change </a:t>
            </a:r>
          </a:p>
          <a:p>
            <a:pPr lvl="2"/>
            <a:r>
              <a:rPr lang="en-GB" dirty="0"/>
              <a:t>and nothing you can do in a few weeks.</a:t>
            </a:r>
          </a:p>
          <a:p>
            <a:r>
              <a:rPr lang="en-GB" dirty="0">
                <a:hlinkClick r:id="rId2"/>
              </a:rPr>
              <a:t>https://owasp.org/www-project-samm/</a:t>
            </a:r>
            <a:endParaRPr lang="en-GB" dirty="0"/>
          </a:p>
          <a:p>
            <a:endParaRPr lang="en-DE" dirty="0"/>
          </a:p>
        </p:txBody>
      </p:sp>
      <p:pic>
        <p:nvPicPr>
          <p:cNvPr id="10" name="Content Placeholder 9" descr="A screenshot of a computer screen&#10;&#10;AI-generated content may be incorrect.">
            <a:extLst>
              <a:ext uri="{FF2B5EF4-FFF2-40B4-BE49-F238E27FC236}">
                <a16:creationId xmlns:a16="http://schemas.microsoft.com/office/drawing/2014/main" id="{3498D317-1030-1C30-28C0-088E8123CABF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3"/>
          <a:stretch>
            <a:fillRect/>
          </a:stretch>
        </p:blipFill>
        <p:spPr>
          <a:xfrm>
            <a:off x="5940425" y="2546098"/>
            <a:ext cx="5148263" cy="2432554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5CE6AD-DA27-38C4-5D34-CC90520865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OWASP Software Assurance Maturity Model (SAMM)</a:t>
            </a:r>
            <a:endParaRPr lang="en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93A2C1A-BC90-39A6-5AEE-C182C6ADE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WASP Projects</a:t>
            </a:r>
          </a:p>
        </p:txBody>
      </p:sp>
    </p:spTree>
    <p:extLst>
      <p:ext uri="{BB962C8B-B14F-4D97-AF65-F5344CB8AC3E}">
        <p14:creationId xmlns:p14="http://schemas.microsoft.com/office/powerpoint/2010/main" val="360686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C609117E-3D6B-5BA8-DB30-FBF7BBBFB2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en-DE" dirty="0"/>
              <a:t>Sven Strittmatt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65AFEC9-E4AF-2117-5B74-6CD586C6E0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en-DE" dirty="0"/>
              <a:t>Lead Security Expert at iteratec</a:t>
            </a:r>
          </a:p>
          <a:p>
            <a:r>
              <a:rPr lang="en-DE" dirty="0"/>
              <a:t>Chapter Stuttgart L</a:t>
            </a:r>
            <a:r>
              <a:rPr lang="en-GB" dirty="0"/>
              <a:t>e</a:t>
            </a:r>
            <a:r>
              <a:rPr lang="en-DE" dirty="0"/>
              <a:t>ad at OWASP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69F2D25-FCA6-6C80-AD84-281DA328F2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🤓  </a:t>
            </a:r>
            <a:r>
              <a:rPr lang="en-DE" dirty="0"/>
              <a:t>Computer nerd since 8.</a:t>
            </a:r>
          </a:p>
          <a:p>
            <a:r>
              <a:rPr lang="en-DE" dirty="0"/>
              <a:t>🤑 Computer stuff for money since 20+ years.</a:t>
            </a:r>
          </a:p>
          <a:p>
            <a:r>
              <a:rPr lang="en-DE" dirty="0"/>
              <a:t>😭 Got hacked in one of my first jobs.</a:t>
            </a:r>
          </a:p>
          <a:p>
            <a:r>
              <a:rPr lang="en-GB" dirty="0"/>
              <a:t>🧐 Since preaching security w/o being asked.</a:t>
            </a:r>
          </a:p>
          <a:p>
            <a:r>
              <a:rPr lang="en-GB" dirty="0"/>
              <a:t>🤔 Now I’m a security consultant.</a:t>
            </a:r>
            <a:endParaRPr lang="en-DE" dirty="0"/>
          </a:p>
        </p:txBody>
      </p:sp>
      <p:pic>
        <p:nvPicPr>
          <p:cNvPr id="13" name="Picture Placeholder 12" descr="A person in a black jacket&#10;&#10;AI-generated content may be incorrect.">
            <a:extLst>
              <a:ext uri="{FF2B5EF4-FFF2-40B4-BE49-F238E27FC236}">
                <a16:creationId xmlns:a16="http://schemas.microsoft.com/office/drawing/2014/main" id="{A4E7FFE5-2475-6D0B-D376-7F8C25EB4CA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l="6104" r="6104"/>
          <a:stretch/>
        </p:blipFill>
        <p:spPr>
          <a:noFill/>
        </p:spPr>
      </p:pic>
    </p:spTree>
    <p:extLst>
      <p:ext uri="{BB962C8B-B14F-4D97-AF65-F5344CB8AC3E}">
        <p14:creationId xmlns:p14="http://schemas.microsoft.com/office/powerpoint/2010/main" val="2739138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p15="http://schemas.microsoft.com/office/powerpoint/2012/main" xmlns:a16="http://schemas.microsoft.com/office/drawing/2014/main" xmlns:adec="http://schemas.microsoft.com/office/drawing/2017/decorative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74D7BD-45BA-B23A-ADBD-C538388806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70141E-BB6E-C3A5-DF7F-70EAF4743BB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5B666C-DC56-0E2B-038B-D1B2AA57198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D0BD82-8B28-8385-327B-F15E9754B0C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584289-1D38-5E33-7E5A-C02637A36DE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/>
              <a:t>Maturity model for </a:t>
            </a:r>
            <a:r>
              <a:rPr lang="en-GB" dirty="0" err="1"/>
              <a:t>DevSecOps</a:t>
            </a:r>
            <a:r>
              <a:rPr lang="en-GB" dirty="0"/>
              <a:t>.</a:t>
            </a:r>
          </a:p>
          <a:p>
            <a:r>
              <a:rPr lang="en-GB" dirty="0"/>
              <a:t>Very useful to see where you are.</a:t>
            </a:r>
          </a:p>
          <a:p>
            <a:r>
              <a:rPr lang="en-GB" dirty="0"/>
              <a:t>More lightweight than </a:t>
            </a:r>
            <a:r>
              <a:rPr lang="en-GB" i="1" dirty="0"/>
              <a:t>OWASP SAMM</a:t>
            </a:r>
            <a:r>
              <a:rPr lang="en-GB" dirty="0"/>
              <a:t>.</a:t>
            </a:r>
          </a:p>
          <a:p>
            <a:r>
              <a:rPr lang="en-GB" dirty="0"/>
              <a:t>Push security left.</a:t>
            </a:r>
          </a:p>
          <a:p>
            <a:r>
              <a:rPr lang="en-GB" dirty="0"/>
              <a:t>Can be done in a team.</a:t>
            </a:r>
          </a:p>
          <a:p>
            <a:r>
              <a:rPr lang="en-GB" dirty="0"/>
              <a:t>Mappings to</a:t>
            </a:r>
          </a:p>
          <a:p>
            <a:pPr lvl="2"/>
            <a:r>
              <a:rPr lang="en-GB" i="1" dirty="0"/>
              <a:t>OWASP SAMM</a:t>
            </a:r>
          </a:p>
          <a:p>
            <a:pPr lvl="2"/>
            <a:r>
              <a:rPr lang="en-GB" dirty="0"/>
              <a:t>ISO27001</a:t>
            </a:r>
          </a:p>
          <a:p>
            <a:r>
              <a:rPr lang="en-GB" dirty="0">
                <a:hlinkClick r:id="rId2"/>
              </a:rPr>
              <a:t>https://owasp.org/www-project-devsecops-maturity-model/</a:t>
            </a:r>
            <a:endParaRPr lang="en-GB" dirty="0"/>
          </a:p>
          <a:p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4272FA-F843-0782-33EE-AC6D8DC85B2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OWASP </a:t>
            </a:r>
            <a:r>
              <a:rPr lang="en-GB" dirty="0" err="1"/>
              <a:t>DevSecOps</a:t>
            </a:r>
            <a:r>
              <a:rPr lang="en-GB" dirty="0"/>
              <a:t> Maturity Model (DSOMM)</a:t>
            </a:r>
            <a:endParaRPr lang="en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9395782-B35B-67C2-EBE5-9E8148BF3F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WASP Projects</a:t>
            </a:r>
          </a:p>
        </p:txBody>
      </p:sp>
      <p:pic>
        <p:nvPicPr>
          <p:cNvPr id="12" name="Content Placeholder 11" descr="A green circle with white text&#10;&#10;AI-generated content may be incorrect.">
            <a:extLst>
              <a:ext uri="{FF2B5EF4-FFF2-40B4-BE49-F238E27FC236}">
                <a16:creationId xmlns:a16="http://schemas.microsoft.com/office/drawing/2014/main" id="{946DEBDA-FB02-CDCD-1576-AB4277C63D06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3"/>
          <a:stretch>
            <a:fillRect/>
          </a:stretch>
        </p:blipFill>
        <p:spPr>
          <a:xfrm>
            <a:off x="6407010" y="1584325"/>
            <a:ext cx="4215093" cy="4356100"/>
          </a:xfrm>
        </p:spPr>
      </p:pic>
    </p:spTree>
    <p:extLst>
      <p:ext uri="{BB962C8B-B14F-4D97-AF65-F5344CB8AC3E}">
        <p14:creationId xmlns:p14="http://schemas.microsoft.com/office/powerpoint/2010/main" val="29448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0CBD10-F5B9-97E0-3C8B-EA3AEE6F39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4298AF-EDD0-01F4-9425-EDA27AC1FDF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B635881-ED30-8871-C633-31CF04C6120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142B98-6B01-6C9E-764E-6FD8A5ADC379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/>
              <a:t>Introduction to security concepts.</a:t>
            </a:r>
          </a:p>
          <a:p>
            <a:r>
              <a:rPr lang="en-GB" dirty="0"/>
              <a:t>Cross-reference to tools &amp; documents from </a:t>
            </a:r>
            <a:r>
              <a:rPr lang="en-GB" i="1" dirty="0"/>
              <a:t>OWASP</a:t>
            </a:r>
            <a:r>
              <a:rPr lang="en-GB" dirty="0"/>
              <a:t>.</a:t>
            </a:r>
          </a:p>
          <a:p>
            <a:r>
              <a:rPr lang="en-GB" dirty="0"/>
              <a:t>Must read for everyone doing IT.</a:t>
            </a:r>
          </a:p>
          <a:p>
            <a:r>
              <a:rPr lang="en-GB" dirty="0"/>
              <a:t>Successor of the archived </a:t>
            </a:r>
            <a:r>
              <a:rPr lang="en-GB" i="1" dirty="0"/>
              <a:t>OWASP Secure Coding Practices-Quick Reference Guide</a:t>
            </a:r>
            <a:r>
              <a:rPr lang="en-GB" dirty="0"/>
              <a:t>.</a:t>
            </a:r>
          </a:p>
          <a:p>
            <a:r>
              <a:rPr lang="en-GB" dirty="0"/>
              <a:t>I wish I had known about this ten years ago. 😂</a:t>
            </a:r>
          </a:p>
          <a:p>
            <a:r>
              <a:rPr lang="en-GB" dirty="0">
                <a:hlinkClick r:id="rId2"/>
              </a:rPr>
              <a:t>https://owasp.org/www-project-developer-guide/</a:t>
            </a:r>
            <a:endParaRPr lang="en-GB" dirty="0"/>
          </a:p>
          <a:p>
            <a:endParaRPr lang="en-DE" dirty="0"/>
          </a:p>
        </p:txBody>
      </p:sp>
      <p:pic>
        <p:nvPicPr>
          <p:cNvPr id="10" name="Content Placeholder 9" descr="A logo of a book with a bug and text&#10;&#10;AI-generated content may be incorrect.">
            <a:extLst>
              <a:ext uri="{FF2B5EF4-FFF2-40B4-BE49-F238E27FC236}">
                <a16:creationId xmlns:a16="http://schemas.microsoft.com/office/drawing/2014/main" id="{3F06BA99-86AA-E2AC-D55F-0061537B9DC2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3"/>
          <a:stretch>
            <a:fillRect/>
          </a:stretch>
        </p:blipFill>
        <p:spPr>
          <a:xfrm>
            <a:off x="6336506" y="1584325"/>
            <a:ext cx="4356100" cy="43561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BDAFBE-BFB7-09B3-229F-D514BE39560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OWASP Developer Guide</a:t>
            </a:r>
            <a:endParaRPr lang="en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E0F7871-0C5D-4261-89F8-C1496E84E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WASP Projects</a:t>
            </a:r>
          </a:p>
        </p:txBody>
      </p:sp>
    </p:spTree>
    <p:extLst>
      <p:ext uri="{BB962C8B-B14F-4D97-AF65-F5344CB8AC3E}">
        <p14:creationId xmlns:p14="http://schemas.microsoft.com/office/powerpoint/2010/main" val="194904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p15="http://schemas.microsoft.com/office/powerpoint/2012/main" xmlns:a16="http://schemas.microsoft.com/office/drawing/2014/main" xmlns:adec="http://schemas.microsoft.com/office/drawing/2017/decorative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86A95B-96D8-88D0-B383-745BBD0717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DE1450-667A-9019-CD1F-0ACF9357506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 rot="16200000">
            <a:off x="11088494" y="5184088"/>
            <a:ext cx="720080" cy="14400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07.04.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6899D2-6284-E362-181A-08831199157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 rot="16200000">
            <a:off x="9882077" y="3077854"/>
            <a:ext cx="3132348" cy="144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WASP – Much More Than Just OWASP Top 10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1CE3CC-7BF2-CE74-1DE1-CB35CC19A76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96213" y="5831863"/>
            <a:ext cx="288033" cy="144305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F86FCC4D-0438-154F-9910-1CF4711F776F}" type="slidenum">
              <a:rPr lang="de-DE" smtClean="0"/>
              <a:pPr>
                <a:spcAft>
                  <a:spcPts val="600"/>
                </a:spcAft>
              </a:pPr>
              <a:t>22</a:t>
            </a:fld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362684-8147-C7F5-904C-C2B06657EB6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88" y="1584326"/>
            <a:ext cx="5148000" cy="4355838"/>
          </a:xfrm>
        </p:spPr>
        <p:txBody>
          <a:bodyPr>
            <a:normAutofit/>
          </a:bodyPr>
          <a:lstStyle/>
          <a:p>
            <a:r>
              <a:rPr lang="en-GB" dirty="0"/>
              <a:t>No time to read the </a:t>
            </a:r>
            <a:r>
              <a:rPr lang="en-GB" i="1" dirty="0"/>
              <a:t>OWASP Developer Guide</a:t>
            </a:r>
            <a:r>
              <a:rPr lang="en-GB" dirty="0"/>
              <a:t> </a:t>
            </a:r>
            <a:br>
              <a:rPr lang="en-GB" dirty="0"/>
            </a:br>
            <a:r>
              <a:rPr lang="en-GB" dirty="0"/>
              <a:t>or role out </a:t>
            </a:r>
            <a:r>
              <a:rPr lang="en-GB" i="1" dirty="0"/>
              <a:t>OWASP SAMM</a:t>
            </a:r>
            <a:r>
              <a:rPr lang="en-GB" dirty="0"/>
              <a:t>?</a:t>
            </a:r>
          </a:p>
          <a:p>
            <a:r>
              <a:rPr lang="en-GB" dirty="0"/>
              <a:t>Your bossy boss demands for features?</a:t>
            </a:r>
          </a:p>
          <a:p>
            <a:r>
              <a:rPr lang="en-GB" dirty="0"/>
              <a:t>Just want to implement a secure…</a:t>
            </a:r>
          </a:p>
          <a:p>
            <a:pPr lvl="2"/>
            <a:r>
              <a:rPr lang="en-GB" dirty="0"/>
              <a:t>… file upload</a:t>
            </a:r>
          </a:p>
          <a:p>
            <a:pPr lvl="2"/>
            <a:r>
              <a:rPr lang="en-GB" dirty="0"/>
              <a:t>… password forgotten</a:t>
            </a:r>
          </a:p>
          <a:p>
            <a:pPr lvl="2"/>
            <a:r>
              <a:rPr lang="en-GB" dirty="0"/>
              <a:t>… </a:t>
            </a:r>
            <a:r>
              <a:rPr lang="en-GB" dirty="0" err="1"/>
              <a:t>xyz</a:t>
            </a:r>
            <a:endParaRPr lang="en-GB" dirty="0"/>
          </a:p>
          <a:p>
            <a:r>
              <a:rPr lang="en-GB" dirty="0"/>
              <a:t>Just look for the right cheat sheet and follow it. 👍</a:t>
            </a:r>
            <a:endParaRPr lang="en-GB" dirty="0">
              <a:hlinkClick r:id="rId2"/>
            </a:endParaRPr>
          </a:p>
          <a:p>
            <a:r>
              <a:rPr lang="en-GB" dirty="0">
                <a:hlinkClick r:id="rId2"/>
              </a:rPr>
              <a:t>https://owasp.org/www-project-cheat-sheets/</a:t>
            </a:r>
            <a:endParaRPr lang="en-GB" dirty="0"/>
          </a:p>
          <a:p>
            <a:endParaRPr lang="en-DE" dirty="0"/>
          </a:p>
        </p:txBody>
      </p:sp>
      <p:pic>
        <p:nvPicPr>
          <p:cNvPr id="10" name="Content Placeholder 9" descr="A person drinking from a coffee cup&#10;&#10;AI-generated content may be incorrect.">
            <a:extLst>
              <a:ext uri="{FF2B5EF4-FFF2-40B4-BE49-F238E27FC236}">
                <a16:creationId xmlns:a16="http://schemas.microsoft.com/office/drawing/2014/main" id="{155A65FB-F0AF-00DB-6E1F-843425CD2042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3"/>
          <a:stretch>
            <a:fillRect/>
          </a:stretch>
        </p:blipFill>
        <p:spPr>
          <a:xfrm>
            <a:off x="5940424" y="1831646"/>
            <a:ext cx="5148263" cy="3861197"/>
          </a:xfrm>
          <a:noFill/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0D7662-4E26-DA94-DCE6-E5499F02B79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9011" y="968400"/>
            <a:ext cx="9432000" cy="288000"/>
          </a:xfrm>
        </p:spPr>
        <p:txBody>
          <a:bodyPr>
            <a:normAutofit/>
          </a:bodyPr>
          <a:lstStyle/>
          <a:p>
            <a:r>
              <a:rPr lang="en-GB" dirty="0"/>
              <a:t>OWASP Cheat Sheet Series</a:t>
            </a:r>
            <a:endParaRPr lang="en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2EB1383-F071-BE2A-40CC-436BCA9F75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011" y="249151"/>
            <a:ext cx="9432000" cy="648000"/>
          </a:xfrm>
        </p:spPr>
        <p:txBody>
          <a:bodyPr anchor="t">
            <a:normAutofit/>
          </a:bodyPr>
          <a:lstStyle/>
          <a:p>
            <a:r>
              <a:rPr lang="en-DE" dirty="0"/>
              <a:t>OWASP Projects</a:t>
            </a:r>
          </a:p>
        </p:txBody>
      </p:sp>
    </p:spTree>
    <p:extLst>
      <p:ext uri="{BB962C8B-B14F-4D97-AF65-F5344CB8AC3E}">
        <p14:creationId xmlns:p14="http://schemas.microsoft.com/office/powerpoint/2010/main" val="1847229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354EDD-B154-612F-E3F9-855FD54E9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76EEDE-B835-5552-4B16-872298864C5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0440F1-43AE-A612-0ACD-2B3402F31A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81101D-C87A-F66B-F5E6-E3F37CEA2E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79DAE5-A123-FBC2-12F2-F5FCB7FCA89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/>
              <a:t>Software bill of materials (SBOM) standard.</a:t>
            </a:r>
          </a:p>
          <a:p>
            <a:r>
              <a:rPr lang="en-GB" dirty="0"/>
              <a:t>Why you need SBOMs?</a:t>
            </a:r>
          </a:p>
          <a:p>
            <a:pPr lvl="2"/>
            <a:r>
              <a:rPr lang="en-GB" dirty="0"/>
              <a:t>You don’t want to </a:t>
            </a:r>
            <a:r>
              <a:rPr lang="en-GB" dirty="0" err="1"/>
              <a:t>syft</a:t>
            </a:r>
            <a:r>
              <a:rPr lang="en-GB" dirty="0"/>
              <a:t> through all your software, </a:t>
            </a:r>
            <a:br>
              <a:rPr lang="en-GB" dirty="0"/>
            </a:br>
            <a:r>
              <a:rPr lang="en-GB" dirty="0"/>
              <a:t>when next Log4J come around (right before x-mas).</a:t>
            </a:r>
          </a:p>
          <a:p>
            <a:pPr lvl="2"/>
            <a:r>
              <a:rPr lang="en-GB" dirty="0"/>
              <a:t>You may have a chance to check what quadrillion dependencies the JS hackers added last week 😂</a:t>
            </a:r>
          </a:p>
          <a:p>
            <a:r>
              <a:rPr lang="en-GB" dirty="0">
                <a:hlinkClick r:id="rId2"/>
              </a:rPr>
              <a:t>https://owasp.org/www-project-cyclonedx/</a:t>
            </a:r>
            <a:endParaRPr lang="en-GB" dirty="0"/>
          </a:p>
          <a:p>
            <a:endParaRPr lang="en-DE" dirty="0"/>
          </a:p>
        </p:txBody>
      </p:sp>
      <p:pic>
        <p:nvPicPr>
          <p:cNvPr id="10" name="Content Placeholder 9" descr="A cartoon of a machine&#10;&#10;AI-generated content may be incorrect.">
            <a:extLst>
              <a:ext uri="{FF2B5EF4-FFF2-40B4-BE49-F238E27FC236}">
                <a16:creationId xmlns:a16="http://schemas.microsoft.com/office/drawing/2014/main" id="{D65DCDB1-D966-A600-90BC-4F7DF40E5169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3"/>
          <a:stretch>
            <a:fillRect/>
          </a:stretch>
        </p:blipFill>
        <p:spPr>
          <a:xfrm>
            <a:off x="6799780" y="1584325"/>
            <a:ext cx="3429553" cy="43561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6AE3F2-89CB-2AD6-42EC-85E94C2A9DC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OWASP </a:t>
            </a:r>
            <a:r>
              <a:rPr lang="en-GB" dirty="0" err="1"/>
              <a:t>CycloneDX</a:t>
            </a:r>
            <a:r>
              <a:rPr lang="en-GB" dirty="0"/>
              <a:t> (ECMA-424)</a:t>
            </a:r>
            <a:endParaRPr lang="en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AF5547B-C76D-5E42-5A13-9F15E41A7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WASP Projects</a:t>
            </a:r>
          </a:p>
        </p:txBody>
      </p:sp>
      <p:sp>
        <p:nvSpPr>
          <p:cNvPr id="11" name="Folded Corner 10">
            <a:extLst>
              <a:ext uri="{FF2B5EF4-FFF2-40B4-BE49-F238E27FC236}">
                <a16:creationId xmlns:a16="http://schemas.microsoft.com/office/drawing/2014/main" id="{7CA2EFF2-92A0-D91D-3710-EF1985F68FA2}"/>
              </a:ext>
            </a:extLst>
          </p:cNvPr>
          <p:cNvSpPr/>
          <p:nvPr/>
        </p:nvSpPr>
        <p:spPr>
          <a:xfrm>
            <a:off x="606640" y="4340291"/>
            <a:ext cx="5226259" cy="1511879"/>
          </a:xfrm>
          <a:prstGeom prst="foldedCorner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DE" sz="1600" b="1" dirty="0">
                <a:solidFill>
                  <a:schemeClr val="bg1"/>
                </a:solidFill>
              </a:rPr>
              <a:t>BTW</a:t>
            </a:r>
            <a:r>
              <a:rPr lang="en-DE" sz="1600" dirty="0">
                <a:solidFill>
                  <a:schemeClr val="bg1"/>
                </a:solidFill>
              </a:rPr>
              <a:t>: If you use free software in your company and you don’t pay for that, then you should read this Wikipedia artic</a:t>
            </a:r>
            <a:r>
              <a:rPr lang="en-GB" sz="1600" dirty="0">
                <a:solidFill>
                  <a:schemeClr val="bg1"/>
                </a:solidFill>
              </a:rPr>
              <a:t>le</a:t>
            </a:r>
            <a:r>
              <a:rPr lang="en-DE" sz="1600" dirty="0">
                <a:solidFill>
                  <a:schemeClr val="bg1"/>
                </a:solidFill>
              </a:rPr>
              <a:t> about </a:t>
            </a:r>
            <a:r>
              <a:rPr lang="en-DE" sz="1600" i="1" dirty="0">
                <a:solidFill>
                  <a:schemeClr val="bg1"/>
                </a:solidFill>
              </a:rPr>
              <a:t>gratis versus libre </a:t>
            </a:r>
            <a:r>
              <a:rPr lang="en-DE" sz="1600" dirty="0">
                <a:solidFill>
                  <a:schemeClr val="bg1"/>
                </a:solidFill>
              </a:rPr>
              <a:t>and tell your boss:</a:t>
            </a:r>
            <a:br>
              <a:rPr lang="en-DE" sz="1600" dirty="0">
                <a:solidFill>
                  <a:schemeClr val="bg1"/>
                </a:solidFill>
              </a:rPr>
            </a:br>
            <a:r>
              <a:rPr lang="en-GB" sz="1600" dirty="0">
                <a:solidFill>
                  <a:schemeClr val="bg1"/>
                </a:solidFill>
                <a:hlinkClick r:id="rId4"/>
              </a:rPr>
              <a:t>https://en.wikipedia.org/wiki/Gratis_versus_libre</a:t>
            </a:r>
            <a:endParaRPr lang="en-DE" sz="16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5A21B7-6F32-9697-A017-2A0796271D6F}"/>
              </a:ext>
            </a:extLst>
          </p:cNvPr>
          <p:cNvSpPr/>
          <p:nvPr/>
        </p:nvSpPr>
        <p:spPr>
          <a:xfrm>
            <a:off x="8891959" y="3887936"/>
            <a:ext cx="1224136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DE" sz="16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FFB84DA-8721-E6D8-7D4F-CB28D34AA70A}"/>
              </a:ext>
            </a:extLst>
          </p:cNvPr>
          <p:cNvSpPr txBox="1"/>
          <p:nvPr/>
        </p:nvSpPr>
        <p:spPr>
          <a:xfrm>
            <a:off x="8852843" y="4716028"/>
            <a:ext cx="689046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buSzPct val="100000"/>
            </a:pPr>
            <a:r>
              <a:rPr lang="en-DE" sz="1600" dirty="0"/>
              <a:t>Log4J</a:t>
            </a:r>
          </a:p>
        </p:txBody>
      </p:sp>
    </p:spTree>
    <p:extLst>
      <p:ext uri="{BB962C8B-B14F-4D97-AF65-F5344CB8AC3E}">
        <p14:creationId xmlns:p14="http://schemas.microsoft.com/office/powerpoint/2010/main" val="1340862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723885-8AB7-22D3-CC6C-DE660B09FF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F64709-86AA-D492-B444-5FD062E098C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E61450-9204-9FEC-6E87-88B1DBFAA9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8974B9-D73B-C359-AA74-F906CA3017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E491E4-E360-0000-49D8-24215A927254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/>
              <a:t>Software Composition Analysis (SCA) tool.</a:t>
            </a:r>
          </a:p>
          <a:p>
            <a:r>
              <a:rPr lang="en-GB" dirty="0"/>
              <a:t>Checks project dependencies for known vulns.</a:t>
            </a:r>
          </a:p>
          <a:p>
            <a:r>
              <a:rPr lang="en-GB" dirty="0"/>
              <a:t>Easy to use &amp; some integrations:</a:t>
            </a:r>
            <a:br>
              <a:rPr lang="en-GB" dirty="0"/>
            </a:br>
            <a:r>
              <a:rPr lang="en-GB" dirty="0"/>
              <a:t>CLI, Ant (yes, still exists), Maven, Gradle, Jenkins, Circle CI, SonarQube, …</a:t>
            </a:r>
          </a:p>
          <a:p>
            <a:r>
              <a:rPr lang="en-GB" dirty="0"/>
              <a:t>Works for Java/JavaScript (done that) and others.</a:t>
            </a:r>
          </a:p>
          <a:p>
            <a:pPr lvl="2"/>
            <a:r>
              <a:rPr lang="en-GB" dirty="0"/>
              <a:t>C/C++ </a:t>
            </a:r>
            <a:r>
              <a:rPr lang="en-GB" dirty="0">
                <a:sym typeface="Wingdings" pitchFamily="2" charset="2"/>
              </a:rPr>
              <a:t> you’re screwed 😂</a:t>
            </a:r>
            <a:endParaRPr lang="en-GB" dirty="0"/>
          </a:p>
          <a:p>
            <a:r>
              <a:rPr lang="en-GB" dirty="0"/>
              <a:t>Output quite difficult to understand.</a:t>
            </a:r>
          </a:p>
          <a:p>
            <a:pPr lvl="2"/>
            <a:r>
              <a:rPr lang="en-GB" dirty="0"/>
              <a:t>Personal advise: Just simply update everything regularly (at least weekly, use </a:t>
            </a:r>
            <a:r>
              <a:rPr lang="en-GB" dirty="0">
                <a:hlinkClick r:id="rId2"/>
              </a:rPr>
              <a:t>Renovate</a:t>
            </a:r>
            <a:r>
              <a:rPr lang="en-GB" dirty="0"/>
              <a:t> or such). 😉</a:t>
            </a:r>
          </a:p>
          <a:p>
            <a:r>
              <a:rPr lang="en-GB" dirty="0">
                <a:hlinkClick r:id="rId3"/>
              </a:rPr>
              <a:t>https://owasp.org/www-project-dependency-check/</a:t>
            </a:r>
            <a:endParaRPr lang="en-GB" dirty="0"/>
          </a:p>
          <a:p>
            <a:endParaRPr lang="en-DE" dirty="0"/>
          </a:p>
        </p:txBody>
      </p:sp>
      <p:pic>
        <p:nvPicPr>
          <p:cNvPr id="10" name="Content Placeholder 9" descr="A person in a black shirt&#10;&#10;AI-generated content may be incorrect.">
            <a:extLst>
              <a:ext uri="{FF2B5EF4-FFF2-40B4-BE49-F238E27FC236}">
                <a16:creationId xmlns:a16="http://schemas.microsoft.com/office/drawing/2014/main" id="{06654D61-2D50-51E1-420C-EF1E7891EB10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4"/>
          <a:stretch>
            <a:fillRect/>
          </a:stretch>
        </p:blipFill>
        <p:spPr>
          <a:xfrm>
            <a:off x="5940425" y="2314426"/>
            <a:ext cx="5148263" cy="2895897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E0E33A-A4BA-ABF3-B620-6F0F3BA03FA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OWASP Dependency-Check</a:t>
            </a:r>
            <a:endParaRPr lang="en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68A5A84-15A1-9191-7FE8-920065974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WASP Projects</a:t>
            </a:r>
          </a:p>
        </p:txBody>
      </p:sp>
    </p:spTree>
    <p:extLst>
      <p:ext uri="{BB962C8B-B14F-4D97-AF65-F5344CB8AC3E}">
        <p14:creationId xmlns:p14="http://schemas.microsoft.com/office/powerpoint/2010/main" val="1072281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8CFAFA-DEFD-7B08-CCAB-FD5B57DB60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FF620A-46D9-9772-C810-D343BA7827A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B4E9D-01CE-3A95-18B0-6A8230A779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24EB92-11D0-D5BB-F80D-3E263211A8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0BCC3B-B274-07FA-BE18-C6A668319FF7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/>
              <a:t>Consumes SBOMs.</a:t>
            </a:r>
          </a:p>
          <a:p>
            <a:r>
              <a:rPr lang="en-GB" dirty="0"/>
              <a:t>Nice Web UI for all your dependencies </a:t>
            </a:r>
            <a:br>
              <a:rPr lang="en-GB" dirty="0"/>
            </a:br>
            <a:r>
              <a:rPr lang="en-GB" dirty="0"/>
              <a:t>(in your organization).</a:t>
            </a:r>
          </a:p>
          <a:p>
            <a:r>
              <a:rPr lang="en-GB" dirty="0"/>
              <a:t>Log4J? </a:t>
            </a:r>
            <a:r>
              <a:rPr lang="en-GB" dirty="0">
                <a:sym typeface="Wingdings" pitchFamily="2" charset="2"/>
              </a:rPr>
              <a:t> click, click, click</a:t>
            </a:r>
            <a:br>
              <a:rPr lang="en-GB" dirty="0">
                <a:sym typeface="Wingdings" pitchFamily="2" charset="2"/>
              </a:rPr>
            </a:br>
            <a:r>
              <a:rPr lang="en-GB" dirty="0">
                <a:sym typeface="Wingdings" pitchFamily="2" charset="2"/>
              </a:rPr>
              <a:t>and you know your usual suspects.</a:t>
            </a:r>
            <a:endParaRPr lang="en-GB" dirty="0"/>
          </a:p>
          <a:p>
            <a:r>
              <a:rPr lang="en-GB" dirty="0">
                <a:hlinkClick r:id="rId2"/>
              </a:rPr>
              <a:t>https://owasp.org/www-project-dependency-track/</a:t>
            </a:r>
            <a:endParaRPr lang="en-GB" dirty="0"/>
          </a:p>
          <a:p>
            <a:endParaRPr lang="en-DE" dirty="0"/>
          </a:p>
        </p:txBody>
      </p:sp>
      <p:pic>
        <p:nvPicPr>
          <p:cNvPr id="10" name="Content Placeholder 9" descr="A computer screen showing graphs and diagrams&#10;&#10;AI-generated content may be incorrect.">
            <a:extLst>
              <a:ext uri="{FF2B5EF4-FFF2-40B4-BE49-F238E27FC236}">
                <a16:creationId xmlns:a16="http://schemas.microsoft.com/office/drawing/2014/main" id="{0CFE75A2-49D2-198D-78FD-C340CC10E250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3"/>
          <a:stretch>
            <a:fillRect/>
          </a:stretch>
        </p:blipFill>
        <p:spPr>
          <a:xfrm>
            <a:off x="5944080" y="1584325"/>
            <a:ext cx="5140952" cy="43561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83DC52-92E3-669A-0900-9395EA589BD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OWASP Dependency-Track	</a:t>
            </a:r>
            <a:endParaRPr lang="en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1F78FE4-EBA7-5BA2-85E8-D11F291DDE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WASP Projects</a:t>
            </a:r>
          </a:p>
        </p:txBody>
      </p:sp>
    </p:spTree>
    <p:extLst>
      <p:ext uri="{BB962C8B-B14F-4D97-AF65-F5344CB8AC3E}">
        <p14:creationId xmlns:p14="http://schemas.microsoft.com/office/powerpoint/2010/main" val="4129149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7700F1-1CAE-C755-49A6-C188796D68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8FF02B-DB32-2DD5-07BA-F7A0CDBCCA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6CB464-6C54-49B9-D2FC-FC32259D9B3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90FDF73-2413-E511-82AE-FB9BA2D17F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8077EE-2037-FEA5-0A98-D8CC2D5E10B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/>
              <a:t>Vuln management tool.</a:t>
            </a:r>
          </a:p>
          <a:p>
            <a:r>
              <a:rPr lang="en-GB" dirty="0"/>
              <a:t>Use it to track-down the process of fixing vulns.</a:t>
            </a:r>
          </a:p>
          <a:p>
            <a:r>
              <a:rPr lang="en-GB" dirty="0"/>
              <a:t>You can add vulns </a:t>
            </a:r>
          </a:p>
          <a:p>
            <a:pPr lvl="2"/>
            <a:r>
              <a:rPr lang="en-GB" dirty="0"/>
              <a:t>manually, e.g. found by penetration test.</a:t>
            </a:r>
          </a:p>
          <a:p>
            <a:pPr lvl="2"/>
            <a:r>
              <a:rPr lang="en-GB" dirty="0"/>
              <a:t>Automatically, e.g. found by tools like</a:t>
            </a:r>
          </a:p>
          <a:p>
            <a:pPr lvl="5"/>
            <a:r>
              <a:rPr lang="en-GB" i="1" dirty="0"/>
              <a:t>OWASP Dependency-Track</a:t>
            </a:r>
            <a:r>
              <a:rPr lang="en-GB" dirty="0"/>
              <a:t>,</a:t>
            </a:r>
          </a:p>
          <a:p>
            <a:pPr lvl="5"/>
            <a:r>
              <a:rPr lang="en-GB" i="1" dirty="0"/>
              <a:t>OWASP</a:t>
            </a:r>
            <a:r>
              <a:rPr lang="en-GB" dirty="0"/>
              <a:t> </a:t>
            </a:r>
            <a:r>
              <a:rPr lang="en-GB" i="1" dirty="0" err="1"/>
              <a:t>secureCodeBox</a:t>
            </a:r>
            <a:r>
              <a:rPr lang="en-GB" dirty="0"/>
              <a:t>,</a:t>
            </a:r>
          </a:p>
          <a:p>
            <a:pPr lvl="5"/>
            <a:r>
              <a:rPr lang="en-GB" dirty="0"/>
              <a:t>whatever (has a rich REST API).</a:t>
            </a:r>
          </a:p>
          <a:p>
            <a:r>
              <a:rPr lang="en-GB" dirty="0">
                <a:hlinkClick r:id="rId2"/>
              </a:rPr>
              <a:t>https://owasp.org/www-project-defectdojo/</a:t>
            </a:r>
            <a:endParaRPr lang="en-GB" dirty="0"/>
          </a:p>
          <a:p>
            <a:endParaRPr lang="en-DE" dirty="0"/>
          </a:p>
        </p:txBody>
      </p:sp>
      <p:pic>
        <p:nvPicPr>
          <p:cNvPr id="10" name="Content Placeholder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337ACD56-4F37-B0F0-F2D9-9DD022C5AC61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3"/>
          <a:stretch>
            <a:fillRect/>
          </a:stretch>
        </p:blipFill>
        <p:spPr>
          <a:xfrm>
            <a:off x="5940425" y="2433791"/>
            <a:ext cx="5148263" cy="2657168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4E8A51-DBAB-D24F-3796-513CDACFE0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OWASP </a:t>
            </a:r>
            <a:r>
              <a:rPr lang="en-GB" dirty="0" err="1"/>
              <a:t>Defectdojo</a:t>
            </a:r>
            <a:endParaRPr lang="en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A4FDE42-0B75-A59B-50F7-BA9DAE4690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WASP Projects</a:t>
            </a:r>
          </a:p>
        </p:txBody>
      </p:sp>
    </p:spTree>
    <p:extLst>
      <p:ext uri="{BB962C8B-B14F-4D97-AF65-F5344CB8AC3E}">
        <p14:creationId xmlns:p14="http://schemas.microsoft.com/office/powerpoint/2010/main" val="2387421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AF3F81-6372-067D-E676-EF25620CD6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screenshot of a menu&#10;&#10;AI-generated content may be incorrect.">
            <a:extLst>
              <a:ext uri="{FF2B5EF4-FFF2-40B4-BE49-F238E27FC236}">
                <a16:creationId xmlns:a16="http://schemas.microsoft.com/office/drawing/2014/main" id="{8C2D9013-7ED1-12EC-EFA8-96476E811D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7743" y="2232247"/>
            <a:ext cx="3927279" cy="3743921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2E354D6E-971A-8A9A-45DA-9F3B6BDC4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WASP Projec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6E272D-E8CB-F4D4-3AB8-AC65DF92A5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OWASP Juice Shop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59C95E-EAC6-C1BD-63E0-DD13C8EC87B7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/>
              <a:t>Insecure web shop.</a:t>
            </a:r>
          </a:p>
          <a:p>
            <a:pPr lvl="2"/>
            <a:r>
              <a:rPr lang="en-GB" dirty="0"/>
              <a:t>Hence the name “</a:t>
            </a:r>
            <a:r>
              <a:rPr lang="en-GB" dirty="0" err="1"/>
              <a:t>Saftladen</a:t>
            </a:r>
            <a:r>
              <a:rPr lang="en-GB" dirty="0"/>
              <a:t>”, German slang for “lousy shop”.</a:t>
            </a:r>
          </a:p>
          <a:p>
            <a:r>
              <a:rPr lang="en-GB" dirty="0"/>
              <a:t>Learn to hack &amp; understand attack vectors.</a:t>
            </a:r>
          </a:p>
          <a:p>
            <a:r>
              <a:rPr lang="en-GB" dirty="0"/>
              <a:t>IMO one of the </a:t>
            </a:r>
            <a:r>
              <a:rPr lang="en-GB" b="1" dirty="0"/>
              <a:t>greatest projects </a:t>
            </a:r>
            <a:r>
              <a:rPr lang="en-GB" dirty="0"/>
              <a:t>from </a:t>
            </a:r>
            <a:r>
              <a:rPr lang="en-GB" i="1" dirty="0"/>
              <a:t>OWASP</a:t>
            </a:r>
            <a:r>
              <a:rPr lang="en-GB" dirty="0"/>
              <a:t>!</a:t>
            </a:r>
          </a:p>
          <a:p>
            <a:pPr lvl="2"/>
            <a:r>
              <a:rPr lang="en-GB" dirty="0"/>
              <a:t>Shout out to the maintainers Björn &amp; Jannik 🙌</a:t>
            </a:r>
          </a:p>
          <a:p>
            <a:r>
              <a:rPr lang="en-GB" dirty="0"/>
              <a:t>We use this for developer trainings combined w/ the </a:t>
            </a:r>
            <a:r>
              <a:rPr lang="en-GB" i="1" dirty="0"/>
              <a:t>Top 10</a:t>
            </a:r>
            <a:r>
              <a:rPr lang="en-GB" dirty="0"/>
              <a:t>.</a:t>
            </a:r>
          </a:p>
          <a:p>
            <a:r>
              <a:rPr lang="en-GB" dirty="0"/>
              <a:t>You can use it for </a:t>
            </a:r>
            <a:r>
              <a:rPr lang="en-GB" dirty="0">
                <a:hlinkClick r:id="rId3"/>
              </a:rPr>
              <a:t>CTFs</a:t>
            </a:r>
            <a:r>
              <a:rPr lang="en-GB" dirty="0"/>
              <a:t>.</a:t>
            </a:r>
          </a:p>
          <a:p>
            <a:r>
              <a:rPr lang="en-GB" dirty="0"/>
              <a:t>We donated </a:t>
            </a:r>
            <a:r>
              <a:rPr lang="en-GB" dirty="0">
                <a:hlinkClick r:id="rId4"/>
              </a:rPr>
              <a:t>MultiJuicer</a:t>
            </a:r>
            <a:r>
              <a:rPr lang="en-GB" dirty="0"/>
              <a:t> for easier setup of multiple instances.</a:t>
            </a:r>
          </a:p>
          <a:p>
            <a:pPr lvl="2"/>
            <a:r>
              <a:rPr lang="en-GB" dirty="0"/>
              <a:t>If you can’t afford monetary donations, consider donating software. </a:t>
            </a:r>
          </a:p>
          <a:p>
            <a:pPr lvl="2"/>
            <a:r>
              <a:rPr lang="en-GB" dirty="0"/>
              <a:t>Even patches/</a:t>
            </a:r>
            <a:r>
              <a:rPr lang="en-GB" dirty="0" err="1"/>
              <a:t>tranlations</a:t>
            </a:r>
            <a:r>
              <a:rPr lang="en-GB" dirty="0"/>
              <a:t> of documentation are worthy. 🤗</a:t>
            </a:r>
          </a:p>
          <a:p>
            <a:r>
              <a:rPr lang="en-GB" dirty="0">
                <a:hlinkClick r:id="rId5"/>
              </a:rPr>
              <a:t>https://owasp.org/www-project-juice-shop/</a:t>
            </a:r>
            <a:endParaRPr lang="en-GB" dirty="0"/>
          </a:p>
          <a:p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6E97BD-DBEF-C703-A3EE-D071DE6C4FD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F6FD9E-7CC9-855C-1FEB-D246E4A1CD7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0D20C4E-0A8E-4DD1-2DCA-B74405F6CEA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10" name="Folded Corner 9">
            <a:extLst>
              <a:ext uri="{FF2B5EF4-FFF2-40B4-BE49-F238E27FC236}">
                <a16:creationId xmlns:a16="http://schemas.microsoft.com/office/drawing/2014/main" id="{7B6D55C8-6004-1A8B-DFBE-AAF8F14B2930}"/>
              </a:ext>
            </a:extLst>
          </p:cNvPr>
          <p:cNvSpPr/>
          <p:nvPr/>
        </p:nvSpPr>
        <p:spPr>
          <a:xfrm rot="716316">
            <a:off x="7529084" y="1115771"/>
            <a:ext cx="3456384" cy="935815"/>
          </a:xfrm>
          <a:prstGeom prst="foldedCorner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DE" sz="1600" b="1" dirty="0">
                <a:solidFill>
                  <a:schemeClr val="bg1"/>
                </a:solidFill>
              </a:rPr>
              <a:t>Disclaimer</a:t>
            </a:r>
            <a:r>
              <a:rPr lang="en-DE" sz="1600" dirty="0">
                <a:solidFill>
                  <a:schemeClr val="bg1"/>
                </a:solidFill>
              </a:rPr>
              <a:t>:</a:t>
            </a:r>
            <a:br>
              <a:rPr lang="en-DE" sz="1600" dirty="0">
                <a:solidFill>
                  <a:schemeClr val="bg1"/>
                </a:solidFill>
              </a:rPr>
            </a:br>
            <a:r>
              <a:rPr lang="en-DE" sz="1600" dirty="0">
                <a:solidFill>
                  <a:schemeClr val="bg1"/>
                </a:solidFill>
              </a:rPr>
              <a:t>Jannik is my co-worker 😬</a:t>
            </a:r>
          </a:p>
        </p:txBody>
      </p:sp>
    </p:spTree>
    <p:extLst>
      <p:ext uri="{BB962C8B-B14F-4D97-AF65-F5344CB8AC3E}">
        <p14:creationId xmlns:p14="http://schemas.microsoft.com/office/powerpoint/2010/main" val="618903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A6526B-B2EB-739A-79A1-BB7154A3E1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4C4D65-5A2F-1212-2CC0-81D7B84ACE9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F86FCC4D-0438-154F-9910-1CF4711F776F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997EDE-B07C-247C-7FE6-BBDB3846FB3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OWASP </a:t>
            </a:r>
            <a:r>
              <a:rPr lang="en-GB" dirty="0" err="1"/>
              <a:t>secureCodeBox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222F2C9-9089-2B53-DBB4-53FC9BB328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88" y="1620321"/>
            <a:ext cx="10693400" cy="4355847"/>
          </a:xfrm>
        </p:spPr>
        <p:txBody>
          <a:bodyPr/>
          <a:lstStyle/>
          <a:p>
            <a:r>
              <a:rPr lang="en-GB" dirty="0"/>
              <a:t>Orchestration of security scanners:</a:t>
            </a:r>
          </a:p>
          <a:p>
            <a:pPr lvl="2"/>
            <a:r>
              <a:rPr lang="en-GB" dirty="0"/>
              <a:t>20+ integrated by default: </a:t>
            </a:r>
            <a:r>
              <a:rPr lang="en-GB" dirty="0">
                <a:hlinkClick r:id="rId2"/>
              </a:rPr>
              <a:t>https://www.securecodebox.io/docs/scanners</a:t>
            </a:r>
            <a:endParaRPr lang="en-GB" dirty="0"/>
          </a:p>
          <a:p>
            <a:pPr lvl="2"/>
            <a:r>
              <a:rPr lang="en-GB" dirty="0"/>
              <a:t>Any scanner runnable in a container can be integrated 😀</a:t>
            </a:r>
          </a:p>
          <a:p>
            <a:pPr lvl="2"/>
            <a:r>
              <a:rPr lang="en-GB" dirty="0"/>
              <a:t>Windows possible, but PITA! We tried it with </a:t>
            </a:r>
            <a:r>
              <a:rPr lang="en-GB" dirty="0" err="1"/>
              <a:t>Pingcastle</a:t>
            </a:r>
            <a:r>
              <a:rPr lang="en-GB" dirty="0"/>
              <a:t> 😩</a:t>
            </a:r>
          </a:p>
          <a:p>
            <a:r>
              <a:rPr lang="en-GB" dirty="0"/>
              <a:t>Kubernetes based.</a:t>
            </a:r>
          </a:p>
          <a:p>
            <a:r>
              <a:rPr lang="en-GB" dirty="0"/>
              <a:t>Only UI is CLI 🤓</a:t>
            </a:r>
          </a:p>
          <a:p>
            <a:r>
              <a:rPr lang="en-GB" dirty="0"/>
              <a:t>Mainly sponsored by </a:t>
            </a:r>
            <a:r>
              <a:rPr lang="en-GB" dirty="0" err="1"/>
              <a:t>iteratec</a:t>
            </a:r>
            <a:r>
              <a:rPr lang="en-GB" dirty="0"/>
              <a:t> &amp; some customers.</a:t>
            </a:r>
          </a:p>
          <a:p>
            <a:pPr lvl="2"/>
            <a:r>
              <a:rPr lang="en-GB" dirty="0"/>
              <a:t>We us it to scan the whole company once  day.</a:t>
            </a:r>
          </a:p>
          <a:p>
            <a:r>
              <a:rPr lang="en-GB" dirty="0"/>
              <a:t>You can try out a simple scan on our new free SaaS:</a:t>
            </a:r>
            <a:br>
              <a:rPr lang="en-GB" dirty="0"/>
            </a:br>
            <a:r>
              <a:rPr lang="en-GB" dirty="0">
                <a:hlinkClick r:id="rId3"/>
              </a:rPr>
              <a:t>https://scd.iterate.de/</a:t>
            </a:r>
            <a:endParaRPr lang="en-GB" dirty="0"/>
          </a:p>
          <a:p>
            <a:r>
              <a:rPr lang="en-GB" dirty="0">
                <a:hlinkClick r:id="rId4"/>
              </a:rPr>
              <a:t>https://owasp.org/www-project-securecodebox/</a:t>
            </a:r>
            <a:endParaRPr lang="en-GB" dirty="0"/>
          </a:p>
          <a:p>
            <a:pPr marL="0" indent="0">
              <a:buNone/>
            </a:pPr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651747-5AE6-58BC-5ABE-C6D59910F64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3FB70C-8CC9-DD36-D25C-B67A21DF17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425CECF-CB7D-A148-04E6-98A9E4E2A1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WASP Project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03A6A4A-771E-5E9B-5572-AAA9DA8ED4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25613" y="3200648"/>
            <a:ext cx="5570600" cy="1695400"/>
          </a:xfrm>
          <a:prstGeom prst="rect">
            <a:avLst/>
          </a:prstGeom>
        </p:spPr>
      </p:pic>
      <p:sp>
        <p:nvSpPr>
          <p:cNvPr id="12" name="Folded Corner 11">
            <a:extLst>
              <a:ext uri="{FF2B5EF4-FFF2-40B4-BE49-F238E27FC236}">
                <a16:creationId xmlns:a16="http://schemas.microsoft.com/office/drawing/2014/main" id="{095AD9A5-B261-CF59-0CC4-BF6335BBDA7E}"/>
              </a:ext>
            </a:extLst>
          </p:cNvPr>
          <p:cNvSpPr/>
          <p:nvPr/>
        </p:nvSpPr>
        <p:spPr>
          <a:xfrm rot="716316">
            <a:off x="7529084" y="1115771"/>
            <a:ext cx="3456384" cy="935815"/>
          </a:xfrm>
          <a:prstGeom prst="foldedCorner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DE" sz="1600" b="1" dirty="0">
                <a:solidFill>
                  <a:schemeClr val="bg1"/>
                </a:solidFill>
              </a:rPr>
              <a:t>Disclaimer</a:t>
            </a:r>
            <a:r>
              <a:rPr lang="en-DE" sz="1600" dirty="0">
                <a:solidFill>
                  <a:schemeClr val="bg1"/>
                </a:solidFill>
              </a:rPr>
              <a:t>:</a:t>
            </a:r>
            <a:br>
              <a:rPr lang="en-DE" sz="1600" dirty="0">
                <a:solidFill>
                  <a:schemeClr val="bg1"/>
                </a:solidFill>
              </a:rPr>
            </a:br>
            <a:r>
              <a:rPr lang="en-DE" sz="1600" dirty="0">
                <a:solidFill>
                  <a:schemeClr val="bg1"/>
                </a:solidFill>
              </a:rPr>
              <a:t>I’m one of the maintainer 😬</a:t>
            </a:r>
          </a:p>
        </p:txBody>
      </p:sp>
    </p:spTree>
    <p:extLst>
      <p:ext uri="{BB962C8B-B14F-4D97-AF65-F5344CB8AC3E}">
        <p14:creationId xmlns:p14="http://schemas.microsoft.com/office/powerpoint/2010/main" val="3558945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CB8D54-C2F2-028C-8F7B-CEF4E6736629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 rot="16200000">
            <a:off x="11088494" y="5184088"/>
            <a:ext cx="720080" cy="14400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07.04.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A15452-3CE4-1E49-3F13-84CD9C3A52C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 rot="16200000">
            <a:off x="9882077" y="3077854"/>
            <a:ext cx="3132348" cy="144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WASP – Much More Than Just OWASP Top 10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87E9FC-C69D-7683-B82F-1F3A7FCBA07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196213" y="5831863"/>
            <a:ext cx="288033" cy="144305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F86FCC4D-0438-154F-9910-1CF4711F776F}" type="slidenum">
              <a:rPr lang="de-DE" smtClean="0"/>
              <a:pPr>
                <a:spcAft>
                  <a:spcPts val="600"/>
                </a:spcAft>
              </a:pPr>
              <a:t>29</a:t>
            </a:fld>
            <a:endParaRPr lang="de-DE"/>
          </a:p>
        </p:txBody>
      </p:sp>
      <p:pic>
        <p:nvPicPr>
          <p:cNvPr id="9" name="Content Placeholder 8" descr="A diagram of security system&#10;&#10;AI-generated content may be incorrect.">
            <a:extLst>
              <a:ext uri="{FF2B5EF4-FFF2-40B4-BE49-F238E27FC236}">
                <a16:creationId xmlns:a16="http://schemas.microsoft.com/office/drawing/2014/main" id="{71E44526-B338-CFD8-0CBE-48D10E9E970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tretch/>
        </p:blipFill>
        <p:spPr>
          <a:xfrm>
            <a:off x="395015" y="1917370"/>
            <a:ext cx="6589229" cy="3689967"/>
          </a:xfrm>
          <a:noFill/>
        </p:spPr>
      </p:pic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12833322-3737-B354-B3BA-F95024E7F5B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775091" y="1584325"/>
            <a:ext cx="3313112" cy="4355388"/>
          </a:xfrm>
        </p:spPr>
        <p:txBody>
          <a:bodyPr>
            <a:normAutofit/>
          </a:bodyPr>
          <a:lstStyle/>
          <a:p>
            <a:r>
              <a:rPr lang="en-US" dirty="0"/>
              <a:t>370 Projects</a:t>
            </a:r>
          </a:p>
          <a:p>
            <a:r>
              <a:rPr lang="en-US" dirty="0"/>
              <a:t>Categorized as </a:t>
            </a:r>
          </a:p>
          <a:p>
            <a:pPr lvl="2"/>
            <a:r>
              <a:rPr lang="en-US" dirty="0"/>
              <a:t>Flagship Projects</a:t>
            </a:r>
          </a:p>
          <a:p>
            <a:pPr lvl="2"/>
            <a:r>
              <a:rPr lang="en-US" dirty="0"/>
              <a:t>Production Projects</a:t>
            </a:r>
          </a:p>
          <a:p>
            <a:pPr lvl="2"/>
            <a:r>
              <a:rPr lang="en-US" dirty="0"/>
              <a:t>Lab Projects</a:t>
            </a:r>
          </a:p>
          <a:p>
            <a:pPr lvl="2"/>
            <a:r>
              <a:rPr lang="en-US" dirty="0"/>
              <a:t>Incubator Projects</a:t>
            </a:r>
          </a:p>
          <a:p>
            <a:r>
              <a:rPr lang="en-US" dirty="0"/>
              <a:t>All </a:t>
            </a:r>
            <a:r>
              <a:rPr lang="en-US" b="1" dirty="0">
                <a:solidFill>
                  <a:schemeClr val="accent2"/>
                </a:solidFill>
              </a:rPr>
              <a:t>free</a:t>
            </a:r>
            <a:r>
              <a:rPr lang="en-US" dirty="0"/>
              <a:t> and </a:t>
            </a:r>
            <a:r>
              <a:rPr lang="en-US" b="1" dirty="0">
                <a:solidFill>
                  <a:schemeClr val="accent2"/>
                </a:solidFill>
              </a:rPr>
              <a:t>open source</a:t>
            </a:r>
            <a:r>
              <a:rPr lang="en-US" dirty="0"/>
              <a:t> 🤗</a:t>
            </a:r>
          </a:p>
          <a:p>
            <a:r>
              <a:rPr lang="en-US" dirty="0"/>
              <a:t>Read </a:t>
            </a:r>
            <a:r>
              <a:rPr lang="en-US" i="1" dirty="0">
                <a:hlinkClick r:id="rId3"/>
              </a:rPr>
              <a:t>OWAP Developer Guide</a:t>
            </a:r>
            <a:r>
              <a:rPr lang="en-US" dirty="0"/>
              <a:t> for more comprehensive overview.</a:t>
            </a:r>
            <a:endParaRPr lang="en-US" i="1" dirty="0"/>
          </a:p>
          <a:p>
            <a:r>
              <a:rPr lang="en-US" dirty="0">
                <a:solidFill>
                  <a:schemeClr val="accent3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wasp.org/projects/</a:t>
            </a:r>
            <a:endParaRPr lang="en-US" dirty="0">
              <a:solidFill>
                <a:schemeClr val="accent3"/>
              </a:solidFill>
            </a:endParaRPr>
          </a:p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AD149D-AD32-95A2-42CF-76F439789F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9011" y="968400"/>
            <a:ext cx="6624392" cy="288000"/>
          </a:xfrm>
        </p:spPr>
        <p:txBody>
          <a:bodyPr>
            <a:normAutofit/>
          </a:bodyPr>
          <a:lstStyle/>
          <a:p>
            <a:r>
              <a:rPr lang="en-DE" dirty="0"/>
              <a:t>So much more…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3CF2827-CEC1-B3E9-AD7A-55F86621D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011" y="248400"/>
            <a:ext cx="6625233" cy="648000"/>
          </a:xfrm>
        </p:spPr>
        <p:txBody>
          <a:bodyPr anchor="t">
            <a:normAutofit/>
          </a:bodyPr>
          <a:lstStyle/>
          <a:p>
            <a:r>
              <a:rPr lang="en-DE" dirty="0"/>
              <a:t>OWASP Projects</a:t>
            </a:r>
          </a:p>
        </p:txBody>
      </p:sp>
    </p:spTree>
    <p:extLst>
      <p:ext uri="{BB962C8B-B14F-4D97-AF65-F5344CB8AC3E}">
        <p14:creationId xmlns:p14="http://schemas.microsoft.com/office/powerpoint/2010/main" val="98257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p15="http://schemas.microsoft.com/office/powerpoint/2012/main" xmlns:a16="http://schemas.microsoft.com/office/drawing/2014/main" xmlns:adec="http://schemas.microsoft.com/office/drawing/2017/decorative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CE54F1DC-C58C-9718-6506-7D4B66C83084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 rot="16200000">
            <a:off x="11088494" y="5184088"/>
            <a:ext cx="720080" cy="144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de-DE"/>
              <a:t>07.04.25</a:t>
            </a: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0F9A9D39-A7BD-6FBD-0E2F-68516D1908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 rot="16200000">
            <a:off x="9882077" y="3077854"/>
            <a:ext cx="3132348" cy="144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de-DE"/>
              <a:t>OWASP – Much More Than Just OWASP Top 10</a:t>
            </a:r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14C4C9F8-80C1-55BC-E4C9-17C4ABEB80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96213" y="5831863"/>
            <a:ext cx="288033" cy="144305"/>
          </a:xfrm>
        </p:spPr>
        <p:txBody>
          <a:bodyPr/>
          <a:lstStyle/>
          <a:p>
            <a:pPr>
              <a:spcAft>
                <a:spcPts val="600"/>
              </a:spcAft>
            </a:pPr>
            <a:fld id="{F86FCC4D-0438-154F-9910-1CF4711F776F}" type="slidenum">
              <a:rPr lang="de-DE"/>
              <a:pPr>
                <a:spcAft>
                  <a:spcPts val="600"/>
                </a:spcAft>
              </a:pPr>
              <a:t>3</a:t>
            </a:fld>
            <a:endParaRPr lang="de-DE"/>
          </a:p>
        </p:txBody>
      </p:sp>
      <p:pic>
        <p:nvPicPr>
          <p:cNvPr id="4" name="Content Placeholder 3" descr="A person sitting in an office&#10;&#10;AI-generated content may be incorrect.">
            <a:extLst>
              <a:ext uri="{FF2B5EF4-FFF2-40B4-BE49-F238E27FC236}">
                <a16:creationId xmlns:a16="http://schemas.microsoft.com/office/drawing/2014/main" id="{D184DD2A-5BD1-C3E5-B91C-E3888C85E314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rcRect r="21111"/>
          <a:stretch/>
        </p:blipFill>
        <p:spPr>
          <a:xfrm>
            <a:off x="395288" y="1584326"/>
            <a:ext cx="5148000" cy="4355838"/>
          </a:xfrm>
          <a:noFill/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CC9713A-8A09-55C6-E937-FDB59FB60A1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940424" y="1584326"/>
            <a:ext cx="5148263" cy="4355838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00000"/>
              </a:lnSpc>
            </a:pPr>
            <a:r>
              <a:rPr lang="en-DE" sz="1500" dirty="0"/>
              <a:t>No, we’re not the company which makes sound cards 😩</a:t>
            </a:r>
          </a:p>
          <a:p>
            <a:pPr lvl="2">
              <a:lnSpc>
                <a:spcPct val="100000"/>
              </a:lnSpc>
            </a:pPr>
            <a:r>
              <a:rPr lang="en-DE" sz="1500" dirty="0"/>
              <a:t>That’s Terratec 😉</a:t>
            </a:r>
          </a:p>
          <a:p>
            <a:pPr>
              <a:lnSpc>
                <a:spcPct val="100000"/>
              </a:lnSpc>
            </a:pPr>
            <a:r>
              <a:rPr lang="en-DE" sz="1500" dirty="0"/>
              <a:t>We do individual software development sinc 25+ years.</a:t>
            </a:r>
          </a:p>
          <a:p>
            <a:pPr lvl="2">
              <a:lnSpc>
                <a:spcPct val="100000"/>
              </a:lnSpc>
            </a:pPr>
            <a:r>
              <a:rPr lang="en-DE" sz="1500" dirty="0"/>
              <a:t>Java, JavaScript, TypeScript, Go, Python etc.</a:t>
            </a:r>
          </a:p>
          <a:p>
            <a:pPr lvl="2">
              <a:lnSpc>
                <a:spcPct val="100000"/>
              </a:lnSpc>
            </a:pPr>
            <a:r>
              <a:rPr lang="en-DE" sz="1500" dirty="0"/>
              <a:t>Hire us when </a:t>
            </a:r>
            <a:r>
              <a:rPr lang="en-GB" sz="1500" dirty="0"/>
              <a:t>failure is not an option</a:t>
            </a:r>
            <a:r>
              <a:rPr lang="en-DE" sz="1500" dirty="0"/>
              <a:t>!</a:t>
            </a:r>
          </a:p>
          <a:p>
            <a:pPr>
              <a:lnSpc>
                <a:spcPct val="100000"/>
              </a:lnSpc>
            </a:pPr>
            <a:r>
              <a:rPr lang="en-DE" sz="1500" dirty="0"/>
              <a:t>Since 10+ years we do security.</a:t>
            </a:r>
          </a:p>
          <a:p>
            <a:pPr lvl="2">
              <a:lnSpc>
                <a:spcPct val="100000"/>
              </a:lnSpc>
            </a:pPr>
            <a:r>
              <a:rPr lang="en-DE" sz="1500" dirty="0"/>
              <a:t>Bec</a:t>
            </a:r>
            <a:r>
              <a:rPr lang="en-GB" sz="1500" dirty="0"/>
              <a:t>au</a:t>
            </a:r>
            <a:r>
              <a:rPr lang="en-DE" sz="1500" dirty="0"/>
              <a:t>se that’s part of it!</a:t>
            </a:r>
          </a:p>
          <a:p>
            <a:pPr lvl="2">
              <a:lnSpc>
                <a:spcPct val="100000"/>
              </a:lnSpc>
            </a:pPr>
            <a:r>
              <a:rPr lang="en-DE" sz="1500" dirty="0"/>
              <a:t>Consulting, Training, Pentesting.</a:t>
            </a:r>
          </a:p>
          <a:p>
            <a:pPr>
              <a:lnSpc>
                <a:spcPct val="100000"/>
              </a:lnSpc>
            </a:pPr>
            <a:r>
              <a:rPr lang="en-DE" sz="1500" dirty="0"/>
              <a:t>500+ Emplyees, 7 Offices.</a:t>
            </a:r>
          </a:p>
          <a:p>
            <a:pPr>
              <a:lnSpc>
                <a:spcPct val="100000"/>
              </a:lnSpc>
            </a:pPr>
            <a:r>
              <a:rPr lang="en-DE" sz="1500" dirty="0"/>
              <a:t>TISAX &amp; ISO27k certified.</a:t>
            </a:r>
          </a:p>
          <a:p>
            <a:pPr>
              <a:lnSpc>
                <a:spcPct val="100000"/>
              </a:lnSpc>
            </a:pPr>
            <a:r>
              <a:rPr lang="en-GB" sz="1500" dirty="0"/>
              <a:t>It really is my company</a:t>
            </a:r>
            <a:r>
              <a:rPr lang="en-DE" sz="1500" dirty="0"/>
              <a:t> 😀</a:t>
            </a:r>
          </a:p>
          <a:p>
            <a:pPr lvl="2">
              <a:lnSpc>
                <a:spcPct val="100000"/>
              </a:lnSpc>
            </a:pPr>
            <a:r>
              <a:rPr lang="en-DE" sz="1500" dirty="0"/>
              <a:t>49 % is owned by </a:t>
            </a:r>
            <a:r>
              <a:rPr lang="en-GB" sz="1500" dirty="0">
                <a:hlinkClick r:id="rId3"/>
              </a:rPr>
              <a:t>iteratec nurdemteam </a:t>
            </a:r>
            <a:r>
              <a:rPr lang="en-GB" sz="1500" dirty="0" err="1">
                <a:hlinkClick r:id="rId3"/>
              </a:rPr>
              <a:t>eG</a:t>
            </a:r>
            <a:r>
              <a:rPr lang="en-GB" sz="1500" dirty="0" err="1"/>
              <a:t>.</a:t>
            </a:r>
            <a:endParaRPr lang="en-GB" sz="1500" dirty="0"/>
          </a:p>
          <a:p>
            <a:pPr lvl="2">
              <a:lnSpc>
                <a:spcPct val="100000"/>
              </a:lnSpc>
            </a:pPr>
            <a:r>
              <a:rPr lang="en-GB" sz="1500" dirty="0"/>
              <a:t>Remaining 51 % coming soon.</a:t>
            </a:r>
          </a:p>
          <a:p>
            <a:pPr>
              <a:lnSpc>
                <a:spcPct val="100000"/>
              </a:lnSpc>
            </a:pPr>
            <a:r>
              <a:rPr lang="en-GB" sz="1500" dirty="0"/>
              <a:t>We use a lot of OWASP stuff 😬</a:t>
            </a:r>
          </a:p>
          <a:p>
            <a:pPr lvl="2">
              <a:lnSpc>
                <a:spcPct val="100000"/>
              </a:lnSpc>
            </a:pPr>
            <a:r>
              <a:rPr lang="en-GB" sz="1500" dirty="0"/>
              <a:t>BTW: My boss urged me to become OWASP member some years ago 😂</a:t>
            </a:r>
            <a:endParaRPr lang="en-DE" sz="150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97E8A05-002C-273E-C14B-FB58380941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9011" y="968400"/>
            <a:ext cx="9432000" cy="288000"/>
          </a:xfrm>
        </p:spPr>
        <p:txBody>
          <a:bodyPr>
            <a:normAutofit/>
          </a:bodyPr>
          <a:lstStyle/>
          <a:p>
            <a:r>
              <a:rPr lang="en-GB" dirty="0"/>
              <a:t>i</a:t>
            </a:r>
            <a:r>
              <a:rPr lang="en-DE" dirty="0"/>
              <a:t>teratec GmbH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DAFD851-2392-C4A8-FBF8-A43E213EE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011" y="249151"/>
            <a:ext cx="9432000" cy="648000"/>
          </a:xfrm>
        </p:spPr>
        <p:txBody>
          <a:bodyPr anchor="t">
            <a:normAutofit/>
          </a:bodyPr>
          <a:lstStyle/>
          <a:p>
            <a:r>
              <a:rPr lang="en-DE" dirty="0"/>
              <a:t>My Company</a:t>
            </a:r>
          </a:p>
        </p:txBody>
      </p:sp>
    </p:spTree>
    <p:extLst>
      <p:ext uri="{BB962C8B-B14F-4D97-AF65-F5344CB8AC3E}">
        <p14:creationId xmlns:p14="http://schemas.microsoft.com/office/powerpoint/2010/main" val="2443728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A2F517-17E8-926A-D392-14014D10F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hank You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20EC80-38E3-8840-CA43-A7895CDC71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E" dirty="0"/>
              <a:t>Are there any questions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A498D62-9174-984D-CDB9-3B790EC8B9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12039" y="4031952"/>
            <a:ext cx="1905000" cy="1905000"/>
          </a:xfrm>
          <a:prstGeom prst="rect">
            <a:avLst/>
          </a:prstGeom>
        </p:spPr>
      </p:pic>
      <p:sp>
        <p:nvSpPr>
          <p:cNvPr id="6" name="Right Arrow 5">
            <a:extLst>
              <a:ext uri="{FF2B5EF4-FFF2-40B4-BE49-F238E27FC236}">
                <a16:creationId xmlns:a16="http://schemas.microsoft.com/office/drawing/2014/main" id="{A936F729-355C-C16F-2ABB-C5842847D29B}"/>
              </a:ext>
            </a:extLst>
          </p:cNvPr>
          <p:cNvSpPr/>
          <p:nvPr/>
        </p:nvSpPr>
        <p:spPr>
          <a:xfrm>
            <a:off x="6083647" y="4516400"/>
            <a:ext cx="3240360" cy="936104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DE" sz="1600" dirty="0">
                <a:solidFill>
                  <a:schemeClr val="bg1"/>
                </a:solidFill>
              </a:rPr>
              <a:t>Download slides here 🤗</a:t>
            </a:r>
          </a:p>
        </p:txBody>
      </p:sp>
    </p:spTree>
    <p:extLst>
      <p:ext uri="{BB962C8B-B14F-4D97-AF65-F5344CB8AC3E}">
        <p14:creationId xmlns:p14="http://schemas.microsoft.com/office/powerpoint/2010/main" val="2492280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A0DE65-2AFF-326B-E0BA-98662F6EAB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CDBB8033-22EF-5934-B2DC-3C2B8F2DB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en-DE" dirty="0"/>
              <a:t>Sven Strittmatt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8D37163-E49A-BC62-61B9-B5EE7933088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en-DE" dirty="0"/>
              <a:t>Lead Security Exper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C48DDDB-8385-F03A-C6CA-2770341B5E9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DE" dirty="0">
                <a:hlinkClick r:id="rId3"/>
              </a:rPr>
              <a:t>sven.strittmatter@iteratec.com</a:t>
            </a:r>
            <a:endParaRPr lang="en-DE" dirty="0"/>
          </a:p>
          <a:p>
            <a:endParaRPr lang="en-DE" dirty="0"/>
          </a:p>
          <a:p>
            <a:r>
              <a:rPr lang="en-DE" dirty="0"/>
              <a:t>Click an appointment w/ me </a:t>
            </a:r>
            <a:r>
              <a:rPr lang="en-DE" dirty="0">
                <a:sym typeface="Wingdings" pitchFamily="2" charset="2"/>
              </a:rPr>
              <a:t></a:t>
            </a:r>
          </a:p>
          <a:p>
            <a:endParaRPr lang="en-DE" dirty="0">
              <a:sym typeface="Wingdings" pitchFamily="2" charset="2"/>
            </a:endParaRPr>
          </a:p>
          <a:p>
            <a:r>
              <a:rPr lang="en-DE" dirty="0">
                <a:sym typeface="Wingdings" pitchFamily="2" charset="2"/>
              </a:rPr>
              <a:t>No, its not a phishing website 😇</a:t>
            </a:r>
            <a:endParaRPr lang="en-DE" dirty="0"/>
          </a:p>
        </p:txBody>
      </p:sp>
      <p:pic>
        <p:nvPicPr>
          <p:cNvPr id="13" name="Picture Placeholder 12" descr="A person in a black jacket&#10;&#10;AI-generated content may be incorrect.">
            <a:extLst>
              <a:ext uri="{FF2B5EF4-FFF2-40B4-BE49-F238E27FC236}">
                <a16:creationId xmlns:a16="http://schemas.microsoft.com/office/drawing/2014/main" id="{9EAD6112-594D-58D9-986C-0CC3F2829A7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/>
          <a:srcRect l="6104" r="6104"/>
          <a:stretch/>
        </p:blipFill>
        <p:spPr>
          <a:noFill/>
        </p:spPr>
      </p:pic>
      <p:pic>
        <p:nvPicPr>
          <p:cNvPr id="3" name="Picture 2" descr="A qr code with a few black squares&#10;&#10;AI-generated content may be incorrect.">
            <a:extLst>
              <a:ext uri="{FF2B5EF4-FFF2-40B4-BE49-F238E27FC236}">
                <a16:creationId xmlns:a16="http://schemas.microsoft.com/office/drawing/2014/main" id="{E9442201-0F33-9AC5-08A6-39FDD152FC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63983" y="3888152"/>
            <a:ext cx="1944000" cy="19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80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p15="http://schemas.microsoft.com/office/powerpoint/2012/main" xmlns:a16="http://schemas.microsoft.com/office/drawing/2014/main" xmlns:adec="http://schemas.microsoft.com/office/drawing/2017/decorative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EECF27-5624-CED8-538C-5031237B59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267EAC6-1EB8-CF54-DA95-008DB98159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No AI Showing Up 😬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F42059-EF98-1CA1-A137-FB98FA010B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E" dirty="0"/>
              <a:t>I don’t bother you w/ AI generated images, </a:t>
            </a:r>
          </a:p>
          <a:p>
            <a:r>
              <a:rPr lang="en-GB" dirty="0"/>
              <a:t>b</a:t>
            </a:r>
            <a:r>
              <a:rPr lang="en-DE" dirty="0"/>
              <a:t>ut with smileys and GIFs 😂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99232189-F8C4-FBEB-D48C-3102D9DAD011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3"/>
          <a:srcRect t="6417" b="6417"/>
          <a:stretch>
            <a:fillRect/>
          </a:stretch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612BAB-9641-CDD7-3D9F-6974DABDF2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839750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C53FDA6-A63D-5F06-4E1F-F7523A2B9A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hat Is OWASP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365F5A7-3F5C-BFEC-A7A3-C2D14987B4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E" dirty="0"/>
              <a:t>Obviously more than the Top 10 😂</a:t>
            </a:r>
          </a:p>
        </p:txBody>
      </p:sp>
    </p:spTree>
    <p:extLst>
      <p:ext uri="{BB962C8B-B14F-4D97-AF65-F5344CB8AC3E}">
        <p14:creationId xmlns:p14="http://schemas.microsoft.com/office/powerpoint/2010/main" val="323894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154BE538-5469-CDF5-61C7-1653D35E62E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04.25</a:t>
            </a:r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104FDD84-214D-903B-613E-151E530706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OWASP – Much More Than Just OWASP Top 10</a:t>
            </a:r>
            <a:endParaRPr lang="de-DE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FAE582E5-0D9B-CD9A-C051-FF01030DB8A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86FCC4D-0438-154F-9910-1CF4711F776F}" type="slidenum">
              <a:rPr lang="de-DE"/>
              <a:pPr/>
              <a:t>6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550B78-6B9B-0E02-E1DB-24DE25A7E3A7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lvl="1"/>
            <a:r>
              <a:rPr lang="en-GB" dirty="0"/>
              <a:t>The </a:t>
            </a:r>
            <a:r>
              <a:rPr lang="en-GB" b="1" i="1" dirty="0"/>
              <a:t>O</a:t>
            </a:r>
            <a:r>
              <a:rPr lang="en-GB" i="1" dirty="0"/>
              <a:t>pen </a:t>
            </a:r>
            <a:r>
              <a:rPr lang="en-GB" i="1" strike="sngStrike" dirty="0" err="1"/>
              <a:t>Web</a:t>
            </a:r>
            <a:r>
              <a:rPr lang="en-GB" b="1" i="1" dirty="0" err="1"/>
              <a:t>W</a:t>
            </a:r>
            <a:r>
              <a:rPr lang="en-GB" i="1" dirty="0" err="1"/>
              <a:t>orldwide</a:t>
            </a:r>
            <a:r>
              <a:rPr lang="en-GB" i="1" dirty="0"/>
              <a:t> </a:t>
            </a:r>
            <a:r>
              <a:rPr lang="en-GB" b="1" i="1" dirty="0"/>
              <a:t>A</a:t>
            </a:r>
            <a:r>
              <a:rPr lang="en-GB" i="1" dirty="0"/>
              <a:t>pplication </a:t>
            </a:r>
            <a:r>
              <a:rPr lang="en-GB" b="1" i="1" dirty="0"/>
              <a:t>S</a:t>
            </a:r>
            <a:r>
              <a:rPr lang="en-GB" i="1" dirty="0"/>
              <a:t>ecurity </a:t>
            </a:r>
            <a:r>
              <a:rPr lang="en-GB" b="1" i="1" dirty="0"/>
              <a:t>P</a:t>
            </a:r>
            <a:r>
              <a:rPr lang="en-GB" i="1" dirty="0"/>
              <a:t>roject</a:t>
            </a:r>
            <a:r>
              <a:rPr lang="en-GB" dirty="0"/>
              <a:t> </a:t>
            </a:r>
            <a:br>
              <a:rPr lang="en-GB" dirty="0"/>
            </a:br>
            <a:r>
              <a:rPr lang="en-GB" dirty="0"/>
              <a:t>is a nonprofit foundation that works </a:t>
            </a:r>
            <a:br>
              <a:rPr lang="en-GB" dirty="0"/>
            </a:br>
            <a:r>
              <a:rPr lang="en-GB" b="1" dirty="0"/>
              <a:t>to improve the security of software</a:t>
            </a:r>
            <a:r>
              <a:rPr lang="en-GB" dirty="0"/>
              <a:t>. </a:t>
            </a:r>
            <a:br>
              <a:rPr lang="en-GB" dirty="0"/>
            </a:br>
            <a:br>
              <a:rPr lang="en-GB" dirty="0"/>
            </a:br>
            <a:r>
              <a:rPr lang="en-GB" dirty="0"/>
              <a:t>Our offer includes:</a:t>
            </a:r>
          </a:p>
          <a:p>
            <a:r>
              <a:rPr lang="en-GB" dirty="0"/>
              <a:t>Community-led open source projects.</a:t>
            </a:r>
          </a:p>
          <a:p>
            <a:r>
              <a:rPr lang="en-US" sz="1600" dirty="0"/>
              <a:t>Over 250+ </a:t>
            </a:r>
            <a:r>
              <a:rPr lang="en-US" dirty="0"/>
              <a:t>local</a:t>
            </a:r>
            <a:r>
              <a:rPr lang="en-US" sz="1600" dirty="0"/>
              <a:t> chapters worldwide.</a:t>
            </a:r>
          </a:p>
          <a:p>
            <a:r>
              <a:rPr lang="en-US" sz="1600" dirty="0"/>
              <a:t>Tens of thousands of members.</a:t>
            </a:r>
          </a:p>
          <a:p>
            <a:r>
              <a:rPr lang="en-US" sz="1600" dirty="0"/>
              <a:t>Industry-leading educational and training conferences</a:t>
            </a:r>
            <a:r>
              <a:rPr lang="en-GB" sz="1600" dirty="0"/>
              <a:t>.</a:t>
            </a:r>
            <a:endParaRPr lang="en-US" sz="1600" dirty="0"/>
          </a:p>
        </p:txBody>
      </p:sp>
      <p:pic>
        <p:nvPicPr>
          <p:cNvPr id="7" name="Content Placeholder 6" descr="A blue and white logo&#10;&#10;AI-generated content may be incorrect.">
            <a:extLst>
              <a:ext uri="{FF2B5EF4-FFF2-40B4-BE49-F238E27FC236}">
                <a16:creationId xmlns:a16="http://schemas.microsoft.com/office/drawing/2014/main" id="{3BD97B68-C056-D2DE-0468-4A10A5952740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3"/>
          <a:srcRect l="13210" t="13210" r="13235" b="13235"/>
          <a:stretch/>
        </p:blipFill>
        <p:spPr>
          <a:xfrm>
            <a:off x="6335861" y="1583680"/>
            <a:ext cx="4212281" cy="4212281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346B6C-2DDE-8ABC-8EC0-39219951461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DE" dirty="0"/>
              <a:t>Our Miss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4A481C-8ED2-0A0D-83F4-431F0A5F3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hat Is OWASP?</a:t>
            </a:r>
          </a:p>
        </p:txBody>
      </p:sp>
    </p:spTree>
    <p:extLst>
      <p:ext uri="{BB962C8B-B14F-4D97-AF65-F5344CB8AC3E}">
        <p14:creationId xmlns:p14="http://schemas.microsoft.com/office/powerpoint/2010/main" val="139795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2D673D0-9799-6859-9A9E-19B586D50A44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 rot="16200000">
            <a:off x="11088494" y="5184088"/>
            <a:ext cx="720080" cy="14400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07.04.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5A936E-D868-54C7-657C-AF156564D79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 rot="16200000">
            <a:off x="9882077" y="3077854"/>
            <a:ext cx="3132348" cy="144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WASP – Much More Than Just OWASP Top 10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75226E3-B783-BCFA-AB2D-A6D38BB08E7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196213" y="5831863"/>
            <a:ext cx="288033" cy="144305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F86FCC4D-0438-154F-9910-1CF4711F776F}" type="slidenum">
              <a:rPr lang="de-DE" smtClean="0"/>
              <a:pPr>
                <a:spcAft>
                  <a:spcPts val="600"/>
                </a:spcAft>
              </a:pPr>
              <a:t>7</a:t>
            </a:fld>
            <a:endParaRPr lang="de-DE"/>
          </a:p>
        </p:txBody>
      </p:sp>
      <p:pic>
        <p:nvPicPr>
          <p:cNvPr id="15" name="Content Placeholder 14" descr="A group of people in a room&#10;&#10;AI-generated content may be incorrect.">
            <a:extLst>
              <a:ext uri="{FF2B5EF4-FFF2-40B4-BE49-F238E27FC236}">
                <a16:creationId xmlns:a16="http://schemas.microsoft.com/office/drawing/2014/main" id="{823BB120-D457-125C-7165-21976F737CD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10455" b="1398"/>
          <a:stretch/>
        </p:blipFill>
        <p:spPr>
          <a:xfrm>
            <a:off x="395015" y="1584282"/>
            <a:ext cx="6589229" cy="4356143"/>
          </a:xfrm>
          <a:noFill/>
        </p:spPr>
      </p:pic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9F495E8D-D425-8BA0-9F62-AB6F8BA8843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775091" y="1584325"/>
            <a:ext cx="3313112" cy="4355388"/>
          </a:xfrm>
        </p:spPr>
        <p:txBody>
          <a:bodyPr>
            <a:normAutofit/>
          </a:bodyPr>
          <a:lstStyle/>
          <a:p>
            <a:r>
              <a:rPr lang="en-US" i="1" dirty="0"/>
              <a:t>OWASP</a:t>
            </a:r>
            <a:r>
              <a:rPr lang="en-US" dirty="0"/>
              <a:t> is a worldwide </a:t>
            </a:r>
            <a:r>
              <a:rPr lang="en-US" b="1" dirty="0">
                <a:solidFill>
                  <a:schemeClr val="accent2"/>
                </a:solidFill>
              </a:rPr>
              <a:t>free</a:t>
            </a:r>
            <a:r>
              <a:rPr lang="en-US" dirty="0"/>
              <a:t> and </a:t>
            </a:r>
            <a:r>
              <a:rPr lang="en-US" b="1" dirty="0">
                <a:solidFill>
                  <a:schemeClr val="accent2"/>
                </a:solidFill>
              </a:rPr>
              <a:t>open</a:t>
            </a:r>
            <a:r>
              <a:rPr lang="en-US" b="1" dirty="0"/>
              <a:t> </a:t>
            </a:r>
            <a:r>
              <a:rPr lang="en-US" b="1" dirty="0">
                <a:solidFill>
                  <a:schemeClr val="accent2"/>
                </a:solidFill>
              </a:rPr>
              <a:t>community</a:t>
            </a:r>
            <a:r>
              <a:rPr lang="en-US" dirty="0"/>
              <a:t> focused on improving the security of application software.</a:t>
            </a:r>
          </a:p>
          <a:p>
            <a:r>
              <a:rPr lang="en-US" dirty="0"/>
              <a:t>Our goal is to make application security </a:t>
            </a:r>
            <a:r>
              <a:rPr lang="en-US" b="1" dirty="0">
                <a:solidFill>
                  <a:schemeClr val="accent2"/>
                </a:solidFill>
              </a:rPr>
              <a:t>visible</a:t>
            </a:r>
            <a:r>
              <a:rPr lang="en-US" dirty="0"/>
              <a:t>, so that people and organizations can make </a:t>
            </a:r>
            <a:r>
              <a:rPr lang="en-US" b="1" dirty="0">
                <a:solidFill>
                  <a:schemeClr val="accent2"/>
                </a:solidFill>
              </a:rPr>
              <a:t>informed</a:t>
            </a:r>
            <a:r>
              <a:rPr lang="en-US" dirty="0"/>
              <a:t> </a:t>
            </a:r>
            <a:r>
              <a:rPr lang="en-US" b="1" dirty="0">
                <a:solidFill>
                  <a:schemeClr val="accent2"/>
                </a:solidFill>
              </a:rPr>
              <a:t>decisions</a:t>
            </a:r>
            <a:r>
              <a:rPr lang="en-US" dirty="0"/>
              <a:t> about application security </a:t>
            </a:r>
            <a:r>
              <a:rPr lang="en-US" b="1" dirty="0">
                <a:solidFill>
                  <a:schemeClr val="accent2"/>
                </a:solidFill>
              </a:rPr>
              <a:t>risks</a:t>
            </a:r>
            <a:r>
              <a:rPr lang="en-US" dirty="0"/>
              <a:t>.</a:t>
            </a:r>
          </a:p>
          <a:p>
            <a:endParaRPr lang="en-US" dirty="0"/>
          </a:p>
          <a:p>
            <a:pPr lvl="1"/>
            <a:r>
              <a:rPr lang="en-US" dirty="0"/>
              <a:t>Picture from </a:t>
            </a:r>
            <a:r>
              <a:rPr lang="en-US" dirty="0">
                <a:hlinkClick r:id="rId3"/>
              </a:rPr>
              <a:t>Global AppSec</a:t>
            </a:r>
            <a:r>
              <a:rPr lang="en-US" dirty="0"/>
              <a:t> 2022 </a:t>
            </a:r>
            <a:br>
              <a:rPr lang="en-US" dirty="0"/>
            </a:br>
            <a:r>
              <a:rPr lang="en-US" dirty="0"/>
              <a:t>by </a:t>
            </a:r>
            <a:r>
              <a:rPr lang="en-US" dirty="0">
                <a:solidFill>
                  <a:schemeClr val="accent3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oah Yisa via LinkedIn</a:t>
            </a:r>
            <a:r>
              <a:rPr lang="en-US" dirty="0"/>
              <a:t>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7EFB67-26A8-7143-D379-C3BDE09278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9011" y="968400"/>
            <a:ext cx="6624392" cy="288000"/>
          </a:xfrm>
        </p:spPr>
        <p:txBody>
          <a:bodyPr>
            <a:normAutofit/>
          </a:bodyPr>
          <a:lstStyle/>
          <a:p>
            <a:r>
              <a:rPr lang="en-DE" dirty="0"/>
              <a:t>Our Community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A3B7E93-F476-E9C4-AA96-20888928E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011" y="248400"/>
            <a:ext cx="6625233" cy="648000"/>
          </a:xfrm>
        </p:spPr>
        <p:txBody>
          <a:bodyPr anchor="t">
            <a:normAutofit/>
          </a:bodyPr>
          <a:lstStyle/>
          <a:p>
            <a:r>
              <a:rPr lang="en-DE" dirty="0"/>
              <a:t>What Is OWASP?</a:t>
            </a:r>
          </a:p>
        </p:txBody>
      </p:sp>
    </p:spTree>
    <p:extLst>
      <p:ext uri="{BB962C8B-B14F-4D97-AF65-F5344CB8AC3E}">
        <p14:creationId xmlns:p14="http://schemas.microsoft.com/office/powerpoint/2010/main" val="4223537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p15="http://schemas.microsoft.com/office/powerpoint/2012/main" xmlns:a16="http://schemas.microsoft.com/office/drawing/2014/main" xmlns:adec="http://schemas.microsoft.com/office/drawing/2017/decorative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511ECC-20EA-A4E7-9553-5638089E5AA2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 rot="16200000">
            <a:off x="11088494" y="5184088"/>
            <a:ext cx="720080" cy="14400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07.04.2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89F490-B26D-B1D4-B681-297E0D7F0DE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 rot="16200000">
            <a:off x="9882077" y="3077854"/>
            <a:ext cx="3132348" cy="144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WASP – Much More Than Just OWASP Top 1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BA0912-E7B8-FED4-17DD-6DCB1C05C9D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196213" y="5831863"/>
            <a:ext cx="288033" cy="144305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F86FCC4D-0438-154F-9910-1CF4711F776F}" type="slidenum">
              <a:rPr lang="de-DE" smtClean="0"/>
              <a:pPr>
                <a:spcAft>
                  <a:spcPts val="600"/>
                </a:spcAft>
              </a:pPr>
              <a:t>8</a:t>
            </a:fld>
            <a:endParaRPr lang="de-DE"/>
          </a:p>
        </p:txBody>
      </p:sp>
      <p:pic>
        <p:nvPicPr>
          <p:cNvPr id="10" name="Content Placeholder 9" descr="A map of the world with red dots&#10;&#10;AI-generated content may be incorrect.">
            <a:extLst>
              <a:ext uri="{FF2B5EF4-FFF2-40B4-BE49-F238E27FC236}">
                <a16:creationId xmlns:a16="http://schemas.microsoft.com/office/drawing/2014/main" id="{20F04321-6B90-6D00-D362-4F783681EAD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tretch/>
        </p:blipFill>
        <p:spPr>
          <a:xfrm>
            <a:off x="397498" y="2113047"/>
            <a:ext cx="6982789" cy="3299367"/>
          </a:xfrm>
          <a:noFill/>
        </p:spPr>
      </p:pic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5EE47205-A2C8-22C6-C6B2-D91D19E80DB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775091" y="1584325"/>
            <a:ext cx="3313112" cy="4355388"/>
          </a:xfrm>
        </p:spPr>
        <p:txBody>
          <a:bodyPr/>
          <a:lstStyle/>
          <a:p>
            <a:r>
              <a:rPr lang="en-US" sz="1400" dirty="0">
                <a:hlinkClick r:id="rId4"/>
              </a:rPr>
              <a:t>German Chapter</a:t>
            </a:r>
            <a:r>
              <a:rPr lang="en-US" sz="1400" dirty="0"/>
              <a:t>:</a:t>
            </a:r>
          </a:p>
          <a:p>
            <a:pPr lvl="2"/>
            <a:r>
              <a:rPr lang="en-US" sz="1400" dirty="0"/>
              <a:t>Lead: Tobias Glemser</a:t>
            </a:r>
          </a:p>
          <a:p>
            <a:pPr lvl="2"/>
            <a:r>
              <a:rPr lang="en-US" sz="1400" dirty="0">
                <a:hlinkClick r:id="rId5"/>
              </a:rPr>
              <a:t>German OWASP Day</a:t>
            </a:r>
            <a:endParaRPr lang="en-US" sz="1400" dirty="0"/>
          </a:p>
          <a:p>
            <a:pPr lvl="2"/>
            <a:r>
              <a:rPr lang="en-US" sz="1400" dirty="0"/>
              <a:t>2025 maybe Düsseldorf 🤔</a:t>
            </a:r>
          </a:p>
          <a:p>
            <a:r>
              <a:rPr lang="en-US" sz="1400" dirty="0">
                <a:hlinkClick r:id="rId6"/>
              </a:rPr>
              <a:t>Stuttgart Chapter</a:t>
            </a:r>
            <a:r>
              <a:rPr lang="en-US" sz="1400" dirty="0"/>
              <a:t>:</a:t>
            </a:r>
          </a:p>
          <a:p>
            <a:pPr lvl="2"/>
            <a:r>
              <a:rPr lang="en-US" sz="1400" dirty="0"/>
              <a:t>Lead: Johannes Merkert &amp; me</a:t>
            </a:r>
          </a:p>
          <a:p>
            <a:pPr lvl="2"/>
            <a:r>
              <a:rPr lang="en-US" sz="1400" dirty="0"/>
              <a:t>Stammtisch w/ 🍺 &amp; 🌭</a:t>
            </a:r>
          </a:p>
          <a:p>
            <a:pPr lvl="2"/>
            <a:r>
              <a:rPr lang="en-US" sz="1400" dirty="0"/>
              <a:t>Organized via </a:t>
            </a:r>
            <a:r>
              <a:rPr lang="en-US" sz="1400" dirty="0">
                <a:hlinkClick r:id="rId7"/>
              </a:rPr>
              <a:t>Meetup</a:t>
            </a:r>
            <a:r>
              <a:rPr lang="en-US" sz="1400" dirty="0"/>
              <a:t>.</a:t>
            </a:r>
          </a:p>
          <a:p>
            <a:r>
              <a:rPr lang="en-US" sz="1400" dirty="0"/>
              <a:t>Lots of other chapters w/ </a:t>
            </a:r>
            <a:r>
              <a:rPr lang="en-US" sz="1400" dirty="0" err="1"/>
              <a:t>Stammtische</a:t>
            </a:r>
            <a:r>
              <a:rPr lang="en-US" sz="1400" dirty="0"/>
              <a:t>/Meetups</a:t>
            </a:r>
          </a:p>
          <a:p>
            <a:pPr lvl="2"/>
            <a:r>
              <a:rPr lang="en-US" sz="1400" dirty="0">
                <a:hlinkClick r:id="rId8"/>
              </a:rPr>
              <a:t>https://owasp.org/chapters/</a:t>
            </a:r>
            <a:endParaRPr lang="en-US" sz="1400" dirty="0"/>
          </a:p>
          <a:p>
            <a:r>
              <a:rPr lang="en-US" sz="1400" dirty="0"/>
              <a:t>Get in touch</a:t>
            </a:r>
          </a:p>
          <a:p>
            <a:pPr lvl="2"/>
            <a:r>
              <a:rPr lang="en-US" sz="1400" dirty="0">
                <a:hlinkClick r:id="rId9"/>
              </a:rPr>
              <a:t>Mailing list</a:t>
            </a:r>
            <a:r>
              <a:rPr lang="en-US" sz="1400" dirty="0"/>
              <a:t>,</a:t>
            </a:r>
          </a:p>
          <a:p>
            <a:pPr lvl="2"/>
            <a:r>
              <a:rPr lang="en-US" sz="1400" dirty="0">
                <a:hlinkClick r:id="rId10"/>
              </a:rPr>
              <a:t>Slack</a:t>
            </a:r>
            <a:r>
              <a:rPr lang="en-US" sz="1400" dirty="0"/>
              <a:t>, or </a:t>
            </a:r>
          </a:p>
          <a:p>
            <a:pPr lvl="2"/>
            <a:r>
              <a:rPr lang="en-US" sz="1400" dirty="0"/>
              <a:t>Just talk to me 🤗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EA1B120-EC00-0C4A-3720-543FA371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011" y="249151"/>
            <a:ext cx="9432000" cy="648000"/>
          </a:xfrm>
        </p:spPr>
        <p:txBody>
          <a:bodyPr anchor="t">
            <a:normAutofit/>
          </a:bodyPr>
          <a:lstStyle/>
          <a:p>
            <a:r>
              <a:rPr lang="en-DE" dirty="0"/>
              <a:t>What Is OWASP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F6989F-E33B-2E2B-4923-DE7AAD0487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9011" y="968400"/>
            <a:ext cx="9432000" cy="288000"/>
          </a:xfrm>
        </p:spPr>
        <p:txBody>
          <a:bodyPr>
            <a:normAutofit/>
          </a:bodyPr>
          <a:lstStyle/>
          <a:p>
            <a:r>
              <a:rPr lang="en-DE" dirty="0"/>
              <a:t>World Wide Organized In Local Chapters</a:t>
            </a:r>
          </a:p>
        </p:txBody>
      </p:sp>
    </p:spTree>
    <p:extLst>
      <p:ext uri="{BB962C8B-B14F-4D97-AF65-F5344CB8AC3E}">
        <p14:creationId xmlns:p14="http://schemas.microsoft.com/office/powerpoint/2010/main" val="907477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p15="http://schemas.microsoft.com/office/powerpoint/2012/main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160997-5877-10B5-B434-17607B543A7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 rot="16200000">
            <a:off x="11088494" y="5184088"/>
            <a:ext cx="720080" cy="14400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07.04.2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56512D-761E-CFFF-B6BB-5A122A26938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 rot="16200000">
            <a:off x="9882077" y="3077854"/>
            <a:ext cx="3132348" cy="144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WASP – Much More Than Just OWASP Top 1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AFB27C-E925-497B-E902-3D4B4BE6BB9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196213" y="5831863"/>
            <a:ext cx="288033" cy="144305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F86FCC4D-0438-154F-9910-1CF4711F776F}" type="slidenum">
              <a:rPr lang="de-DE" smtClean="0"/>
              <a:pPr>
                <a:spcAft>
                  <a:spcPts val="600"/>
                </a:spcAft>
              </a:pPr>
              <a:t>9</a:t>
            </a:fld>
            <a:endParaRPr lang="de-DE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EA249E9-C795-0FFD-C440-F54EEAA6994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015" y="1584368"/>
            <a:ext cx="3311798" cy="4355345"/>
          </a:xfrm>
        </p:spPr>
        <p:txBody>
          <a:bodyPr>
            <a:normAutofit fontScale="92500"/>
          </a:bodyPr>
          <a:lstStyle/>
          <a:p>
            <a:r>
              <a:rPr lang="en-GB" dirty="0"/>
              <a:t>Everyone is free to participate. 🤗</a:t>
            </a:r>
          </a:p>
          <a:p>
            <a:pPr lvl="2"/>
            <a:r>
              <a:rPr lang="en-GB" b="1" dirty="0"/>
              <a:t>No membership required</a:t>
            </a:r>
            <a:r>
              <a:rPr lang="en-GB" dirty="0"/>
              <a:t>!</a:t>
            </a:r>
          </a:p>
          <a:p>
            <a:r>
              <a:rPr lang="en-GB" dirty="0"/>
              <a:t>All materials are available under </a:t>
            </a:r>
            <a:r>
              <a:rPr lang="en-GB" b="1" dirty="0"/>
              <a:t>free</a:t>
            </a:r>
            <a:r>
              <a:rPr lang="en-GB" dirty="0"/>
              <a:t> &amp; </a:t>
            </a:r>
            <a:r>
              <a:rPr lang="en-GB" b="1" dirty="0"/>
              <a:t>open</a:t>
            </a:r>
            <a:r>
              <a:rPr lang="en-GB" dirty="0"/>
              <a:t> licenses. </a:t>
            </a:r>
          </a:p>
          <a:p>
            <a:r>
              <a:rPr lang="en-GB" dirty="0"/>
              <a:t>All </a:t>
            </a:r>
            <a:r>
              <a:rPr lang="en-GB" i="1" dirty="0"/>
              <a:t>OWASP</a:t>
            </a:r>
            <a:r>
              <a:rPr lang="en-GB" dirty="0"/>
              <a:t> events are free to attend for </a:t>
            </a:r>
            <a:r>
              <a:rPr lang="en-GB" b="1" dirty="0"/>
              <a:t>anyone</a:t>
            </a:r>
            <a:r>
              <a:rPr lang="en-GB" dirty="0"/>
              <a:t>.</a:t>
            </a:r>
          </a:p>
          <a:p>
            <a:pPr lvl="2"/>
            <a:r>
              <a:rPr lang="en-GB" dirty="0"/>
              <a:t>Except conferences, </a:t>
            </a:r>
            <a:br>
              <a:rPr lang="en-GB" dirty="0"/>
            </a:br>
            <a:r>
              <a:rPr lang="en-GB" dirty="0"/>
              <a:t>we charge net cost prices. 😀</a:t>
            </a:r>
          </a:p>
          <a:p>
            <a:r>
              <a:rPr lang="en-GB" dirty="0"/>
              <a:t>No need for any entry qualification.</a:t>
            </a:r>
          </a:p>
          <a:p>
            <a:r>
              <a:rPr lang="en-GB" dirty="0"/>
              <a:t>All creatures are welcome. 🤗</a:t>
            </a:r>
          </a:p>
          <a:p>
            <a:pPr lvl="2"/>
            <a:r>
              <a:rPr lang="en-GB" dirty="0"/>
              <a:t>Yes, I know, it's from the CCC. 😬</a:t>
            </a:r>
          </a:p>
          <a:p>
            <a:endParaRPr lang="en-GB" dirty="0"/>
          </a:p>
          <a:p>
            <a:pPr lvl="1"/>
            <a:r>
              <a:rPr lang="en-GB" dirty="0"/>
              <a:t>Picture from: </a:t>
            </a:r>
            <a:r>
              <a:rPr lang="en-GB" dirty="0">
                <a:hlinkClick r:id="rId2"/>
              </a:rPr>
              <a:t>https://owasp.glueup.com/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DE" dirty="0"/>
          </a:p>
        </p:txBody>
      </p:sp>
      <p:pic>
        <p:nvPicPr>
          <p:cNvPr id="14" name="Content Placeholder 13" descr="A group of people wearing lanyards&#10;&#10;AI-generated content may be incorrect.">
            <a:extLst>
              <a:ext uri="{FF2B5EF4-FFF2-40B4-BE49-F238E27FC236}">
                <a16:creationId xmlns:a16="http://schemas.microsoft.com/office/drawing/2014/main" id="{17BBE3D0-0F42-F755-10F1-ACB38B3C41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l="7751" r="12081" b="2"/>
          <a:stretch/>
        </p:blipFill>
        <p:spPr>
          <a:xfrm>
            <a:off x="4103687" y="1584325"/>
            <a:ext cx="6984515" cy="4356100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6F270CDD-C2A2-3888-5393-6FD800176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011" y="249151"/>
            <a:ext cx="9432000" cy="648000"/>
          </a:xfrm>
        </p:spPr>
        <p:txBody>
          <a:bodyPr anchor="t">
            <a:normAutofit/>
          </a:bodyPr>
          <a:lstStyle/>
          <a:p>
            <a:r>
              <a:rPr lang="en-DE" dirty="0"/>
              <a:t>What Is OWASP?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09F0B6F-AB3F-D401-445D-DD073D6D24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9011" y="968400"/>
            <a:ext cx="9432000" cy="288000"/>
          </a:xfrm>
        </p:spPr>
        <p:txBody>
          <a:bodyPr>
            <a:normAutofit/>
          </a:bodyPr>
          <a:lstStyle/>
          <a:p>
            <a:r>
              <a:rPr lang="en-DE" dirty="0"/>
              <a:t>It’s All Free</a:t>
            </a:r>
          </a:p>
        </p:txBody>
      </p:sp>
    </p:spTree>
    <p:extLst>
      <p:ext uri="{BB962C8B-B14F-4D97-AF65-F5344CB8AC3E}">
        <p14:creationId xmlns:p14="http://schemas.microsoft.com/office/powerpoint/2010/main" val="149636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 xmlns:adec="http://schemas.microsoft.com/office/drawing/2017/decorative" xmlns:a14="http://schemas.microsoft.com/office/drawing/2010/main" xmlns:asvg="http://schemas.microsoft.com/office/drawing/2016/SVG/main" xmlns:p15="http://schemas.microsoft.com/office/powerpoint/2012/main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FALLBACK_LAYOUT" val="31"/>
  <p:tag name="MIO_SHOW_DATE" val="Tru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DBID" val="B429DB9C-37E6-4A9F-95B4-A2C7CB46D02B"/>
  <p:tag name="MIO_EKGUID" val="66419820-8a14-4057-8682-75ea519f24d8"/>
  <p:tag name="MIO_OBJECTNAME" val="iteratec"/>
  <p:tag name="MIO_CONTENTTAG" val="q0TdkeCHhUmyMHmOlVxqQwGDH+YPYq9Mgp3ML0L9RAI="/>
  <p:tag name="MIO_NUMBER_OF_VALID_LAYOUTS" val="59"/>
  <p:tag name="MIO_VERSION" val="24.07.2024 10:51:33"/>
  <p:tag name="MIO_SKIPVERSION" val="01.01.0001 00:00:00"/>
  <p:tag name="MIO_LASTDOWNLOADED" val="25.07.2024 09:53:17.869"/>
  <p:tag name="MIO_CDID" val="95203cb8-5aea-4217-8e8e-0aa4710ffcc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iteratec">
  <a:themeElements>
    <a:clrScheme name="iteratec">
      <a:dk1>
        <a:srgbClr val="000000"/>
      </a:dk1>
      <a:lt1>
        <a:srgbClr val="FFFFFF"/>
      </a:lt1>
      <a:dk2>
        <a:srgbClr val="9D1681"/>
      </a:dk2>
      <a:lt2>
        <a:srgbClr val="FFFFFF"/>
      </a:lt2>
      <a:accent1>
        <a:srgbClr val="9D1681"/>
      </a:accent1>
      <a:accent2>
        <a:srgbClr val="FFE500"/>
      </a:accent2>
      <a:accent3>
        <a:srgbClr val="00B2BB"/>
      </a:accent3>
      <a:accent4>
        <a:srgbClr val="CE8BC0"/>
      </a:accent4>
      <a:accent5>
        <a:srgbClr val="7FD8DD"/>
      </a:accent5>
      <a:accent6>
        <a:srgbClr val="FFF280"/>
      </a:accent6>
      <a:hlink>
        <a:srgbClr val="00B2BB"/>
      </a:hlink>
      <a:folHlink>
        <a:srgbClr val="00B2BB"/>
      </a:folHlink>
    </a:clrScheme>
    <a:fontScheme name="iterate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lnSpc>
            <a:spcPct val="110000"/>
          </a:lnSpc>
          <a:spcBef>
            <a:spcPts val="600"/>
          </a:spcBef>
          <a:buSzPct val="100000"/>
          <a:buFont typeface="Wingdings" panose="05000000000000000000" pitchFamily="2" charset="2"/>
          <a:buChar char="§"/>
          <a:defRPr sz="16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55E4CBC0-5C46-4048-B907-2E073E18E09B}" vid="{AC2FB31E-5D01-F846-8C5F-C013B59EA46A}"/>
    </a:ext>
  </a:extLst>
</a:theme>
</file>

<file path=ppt/theme/theme2.xml><?xml version="1.0" encoding="utf-8"?>
<a:theme xmlns:a="http://schemas.openxmlformats.org/drawingml/2006/main" name="Office">
  <a:themeElements>
    <a:clrScheme name="iteratec">
      <a:dk1>
        <a:srgbClr val="000000"/>
      </a:dk1>
      <a:lt1>
        <a:srgbClr val="FFFFFF"/>
      </a:lt1>
      <a:dk2>
        <a:srgbClr val="9D1681"/>
      </a:dk2>
      <a:lt2>
        <a:srgbClr val="FFFFFF"/>
      </a:lt2>
      <a:accent1>
        <a:srgbClr val="9D1681"/>
      </a:accent1>
      <a:accent2>
        <a:srgbClr val="FFE500"/>
      </a:accent2>
      <a:accent3>
        <a:srgbClr val="00B2BB"/>
      </a:accent3>
      <a:accent4>
        <a:srgbClr val="D886C2"/>
      </a:accent4>
      <a:accent5>
        <a:srgbClr val="7FD8DC"/>
      </a:accent5>
      <a:accent6>
        <a:srgbClr val="FFF17F"/>
      </a:accent6>
      <a:hlink>
        <a:srgbClr val="000000"/>
      </a:hlink>
      <a:folHlink>
        <a:srgbClr val="000000"/>
      </a:folHlink>
    </a:clrScheme>
    <a:fontScheme name="iterate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iteratec">
      <a:dk1>
        <a:srgbClr val="000000"/>
      </a:dk1>
      <a:lt1>
        <a:srgbClr val="FFFFFF"/>
      </a:lt1>
      <a:dk2>
        <a:srgbClr val="9D1681"/>
      </a:dk2>
      <a:lt2>
        <a:srgbClr val="FFFFFF"/>
      </a:lt2>
      <a:accent1>
        <a:srgbClr val="9D1681"/>
      </a:accent1>
      <a:accent2>
        <a:srgbClr val="FFE500"/>
      </a:accent2>
      <a:accent3>
        <a:srgbClr val="00B2BB"/>
      </a:accent3>
      <a:accent4>
        <a:srgbClr val="D886C2"/>
      </a:accent4>
      <a:accent5>
        <a:srgbClr val="7FD8DC"/>
      </a:accent5>
      <a:accent6>
        <a:srgbClr val="FFF17F"/>
      </a:accent6>
      <a:hlink>
        <a:srgbClr val="000000"/>
      </a:hlink>
      <a:folHlink>
        <a:srgbClr val="000000"/>
      </a:folHlink>
    </a:clrScheme>
    <a:fontScheme name="iterate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teratec</Template>
  <TotalTime>6870</TotalTime>
  <Words>2133</Words>
  <Application>Microsoft Macintosh PowerPoint</Application>
  <PresentationFormat>Custom</PresentationFormat>
  <Paragraphs>349</Paragraphs>
  <Slides>31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4" baseType="lpstr">
      <vt:lpstr>Arial</vt:lpstr>
      <vt:lpstr>Wingdings</vt:lpstr>
      <vt:lpstr>iteratec</vt:lpstr>
      <vt:lpstr>OWASP</vt:lpstr>
      <vt:lpstr>Sven Strittmatter</vt:lpstr>
      <vt:lpstr>My Company</vt:lpstr>
      <vt:lpstr>No AI Showing Up 😬</vt:lpstr>
      <vt:lpstr>What Is OWASP?</vt:lpstr>
      <vt:lpstr>What Is OWASP?</vt:lpstr>
      <vt:lpstr>What Is OWASP?</vt:lpstr>
      <vt:lpstr>What Is OWASP?</vt:lpstr>
      <vt:lpstr>What Is OWASP?</vt:lpstr>
      <vt:lpstr>What Is OWASP?</vt:lpstr>
      <vt:lpstr>Contributing Members</vt:lpstr>
      <vt:lpstr>Contributing Members</vt:lpstr>
      <vt:lpstr>OWASP Projects</vt:lpstr>
      <vt:lpstr>OWASP Projects</vt:lpstr>
      <vt:lpstr>OWASP Projects</vt:lpstr>
      <vt:lpstr>Some More Projects</vt:lpstr>
      <vt:lpstr>OWASP Projects</vt:lpstr>
      <vt:lpstr>OWASP Projects</vt:lpstr>
      <vt:lpstr>OWASP Projects</vt:lpstr>
      <vt:lpstr>OWASP Projects</vt:lpstr>
      <vt:lpstr>OWASP Projects</vt:lpstr>
      <vt:lpstr>OWASP Projects</vt:lpstr>
      <vt:lpstr>OWASP Projects</vt:lpstr>
      <vt:lpstr>OWASP Projects</vt:lpstr>
      <vt:lpstr>OWASP Projects</vt:lpstr>
      <vt:lpstr>OWASP Projects</vt:lpstr>
      <vt:lpstr>OWASP Projects</vt:lpstr>
      <vt:lpstr>OWASP Projects</vt:lpstr>
      <vt:lpstr>OWASP Projects</vt:lpstr>
      <vt:lpstr>Thank You!</vt:lpstr>
      <vt:lpstr>Sven Strittmatt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ven Strittmatter</dc:creator>
  <dc:description/>
  <cp:lastModifiedBy>Sven Strittmatter</cp:lastModifiedBy>
  <cp:revision>27</cp:revision>
  <dcterms:created xsi:type="dcterms:W3CDTF">2025-03-28T19:15:51Z</dcterms:created>
  <dcterms:modified xsi:type="dcterms:W3CDTF">2025-04-07T10:02:07Z</dcterms:modified>
</cp:coreProperties>
</file>